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slideLayouts/slideLayout36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  <p:sldMasterId id="2147483884" r:id="rId5"/>
    <p:sldMasterId id="2147483904" r:id="rId6"/>
    <p:sldMasterId id="2147483807" r:id="rId7"/>
    <p:sldMasterId id="2147483912" r:id="rId8"/>
    <p:sldMasterId id="2147483808" r:id="rId9"/>
  </p:sldMasterIdLst>
  <p:notesMasterIdLst>
    <p:notesMasterId r:id="rId24"/>
  </p:notesMasterIdLst>
  <p:handoutMasterIdLst>
    <p:handoutMasterId r:id="rId25"/>
  </p:handoutMasterIdLst>
  <p:sldIdLst>
    <p:sldId id="715" r:id="rId10"/>
    <p:sldId id="716" r:id="rId11"/>
    <p:sldId id="731" r:id="rId12"/>
    <p:sldId id="732" r:id="rId13"/>
    <p:sldId id="733" r:id="rId14"/>
    <p:sldId id="734" r:id="rId15"/>
    <p:sldId id="743" r:id="rId16"/>
    <p:sldId id="744" r:id="rId17"/>
    <p:sldId id="736" r:id="rId18"/>
    <p:sldId id="735" r:id="rId19"/>
    <p:sldId id="745" r:id="rId20"/>
    <p:sldId id="746" r:id="rId21"/>
    <p:sldId id="747" r:id="rId22"/>
    <p:sldId id="748" r:id="rId23"/>
  </p:sldIdLst>
  <p:sldSz cx="12192000" cy="6858000"/>
  <p:notesSz cx="6858000" cy="9144000"/>
  <p:embeddedFontLst>
    <p:embeddedFont>
      <p:font typeface="Roboto" panose="02000000000000000000" pitchFamily="2" charset="0"/>
      <p:regular r:id="rId26"/>
      <p:bold r:id="rId27"/>
      <p:italic r:id="rId28"/>
      <p:boldItalic r:id="rId29"/>
    </p:embeddedFont>
    <p:embeddedFont>
      <p:font typeface="Roboto Condensed" panose="02000000000000000000" pitchFamily="2" charset="0"/>
      <p:regular r:id="rId30"/>
      <p:bold r:id="rId31"/>
      <p:italic r:id="rId32"/>
      <p:boldItalic r:id="rId33"/>
    </p:embeddedFont>
    <p:embeddedFont>
      <p:font typeface="Roboto Light" panose="02000000000000000000" pitchFamily="2" charset="0"/>
      <p:regular r:id="rId34"/>
      <p:italic r:id="rId35"/>
    </p:embeddedFont>
    <p:embeddedFont>
      <p:font typeface="Roboto Medium" panose="02000000000000000000" pitchFamily="2" charset="0"/>
      <p:regular r:id="rId36"/>
      <p:italic r:id="rId37"/>
    </p:embeddedFont>
    <p:embeddedFont>
      <p:font typeface="Roboto Mono" panose="00000009000000000000" pitchFamily="49" charset="0"/>
      <p:regular r:id="rId38"/>
      <p:bold r:id="rId39"/>
      <p:italic r:id="rId40"/>
      <p:boldItalic r:id="rId41"/>
    </p:embeddedFont>
  </p:embeddedFontLst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80"/>
    <a:srgbClr val="22272B"/>
    <a:srgbClr val="F3ECE3"/>
    <a:srgbClr val="D9D8D6"/>
    <a:srgbClr val="EBECEC"/>
    <a:srgbClr val="7F8184"/>
    <a:srgbClr val="4A4F54"/>
    <a:srgbClr val="00A0CC"/>
    <a:srgbClr val="B9EDEB"/>
    <a:srgbClr val="B000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89" autoAdjust="0"/>
    <p:restoredTop sz="95226" autoAdjust="0"/>
  </p:normalViewPr>
  <p:slideViewPr>
    <p:cSldViewPr snapToGrid="0">
      <p:cViewPr varScale="1">
        <p:scale>
          <a:sx n="94" d="100"/>
          <a:sy n="94" d="100"/>
        </p:scale>
        <p:origin x="1224" y="31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4632" y="113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21" Type="http://schemas.openxmlformats.org/officeDocument/2006/relationships/slide" Target="slides/slide12.xml"/><Relationship Id="rId34" Type="http://schemas.openxmlformats.org/officeDocument/2006/relationships/font" Target="fonts/font9.fntdata"/><Relationship Id="rId42" Type="http://schemas.openxmlformats.org/officeDocument/2006/relationships/tags" Target="tags/tag1.xml"/><Relationship Id="rId47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font" Target="fonts/font6.fntdata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tableStyles" Target="tableStyles.xml"/><Relationship Id="rId20" Type="http://schemas.openxmlformats.org/officeDocument/2006/relationships/slide" Target="slides/slide11.xml"/><Relationship Id="rId41" Type="http://schemas.openxmlformats.org/officeDocument/2006/relationships/font" Target="fonts/font16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aac Bakayoko" userId="S::ibakayoko@axway.com::5a13f181-83eb-4a71-9780-ca185e2cfc48" providerId="AD" clId="Web-{84C08F8E-D50A-4E66-8541-FEC4A3E9923E}"/>
    <pc:docChg chg="mod">
      <pc:chgData name="Isaac Bakayoko" userId="S::ibakayoko@axway.com::5a13f181-83eb-4a71-9780-ca185e2cfc48" providerId="AD" clId="Web-{84C08F8E-D50A-4E66-8541-FEC4A3E9923E}" dt="2025-10-15T13:04:40.613" v="0" actId="33475"/>
      <pc:docMkLst>
        <pc:docMk/>
      </pc:docMkLst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9A289C-6CBD-3086-D665-3D6391FDC1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72821E-929C-131C-19EA-E8EB553DFA0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25F2B1-51D9-41FE-84B0-99B9DE7F9905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4F4916-F7A2-8C22-CAFA-8969306892F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B92ED7-9811-1572-0597-98360060AEC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A24B6C-E641-40DC-8348-A5B270063EDE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27426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3CAA1C-C530-8F4A-A59B-8A1DD3B53D6D}" type="datetimeFigureOut">
              <a:rPr lang="en-US" smtClean="0"/>
              <a:t>10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B948DA-2198-5848-AEF6-1537C157E0D2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943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5" Type="http://schemas.openxmlformats.org/officeDocument/2006/relationships/hyperlink" Target="http://www.axway.com/" TargetMode="Externa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5" Type="http://schemas.openxmlformats.org/officeDocument/2006/relationships/hyperlink" Target="http://www.axway.com/" TargetMode="Externa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hyperlink" Target="http://www.axway.com/" TargetMode="Externa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xway.com/" TargetMode="External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xway.com/" TargetMode="External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5" Type="http://schemas.openxmlformats.org/officeDocument/2006/relationships/hyperlink" Target="http://www.axway.com/" TargetMode="Externa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26" Type="http://schemas.openxmlformats.org/officeDocument/2006/relationships/image" Target="../media/image55.emf"/><Relationship Id="rId3" Type="http://schemas.openxmlformats.org/officeDocument/2006/relationships/image" Target="../media/image32.png"/><Relationship Id="rId21" Type="http://schemas.openxmlformats.org/officeDocument/2006/relationships/image" Target="../media/image50.png"/><Relationship Id="rId7" Type="http://schemas.openxmlformats.org/officeDocument/2006/relationships/image" Target="../media/image36.jpeg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5" Type="http://schemas.openxmlformats.org/officeDocument/2006/relationships/image" Target="../media/image54.png"/><Relationship Id="rId2" Type="http://schemas.openxmlformats.org/officeDocument/2006/relationships/image" Target="../media/image31.png"/><Relationship Id="rId16" Type="http://schemas.openxmlformats.org/officeDocument/2006/relationships/image" Target="../media/image45.png"/><Relationship Id="rId20" Type="http://schemas.openxmlformats.org/officeDocument/2006/relationships/image" Target="../media/image49.png"/><Relationship Id="rId29" Type="http://schemas.openxmlformats.org/officeDocument/2006/relationships/image" Target="../media/image5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5.jpeg"/><Relationship Id="rId11" Type="http://schemas.openxmlformats.org/officeDocument/2006/relationships/image" Target="../media/image40.png"/><Relationship Id="rId24" Type="http://schemas.openxmlformats.org/officeDocument/2006/relationships/image" Target="../media/image53.png"/><Relationship Id="rId5" Type="http://schemas.openxmlformats.org/officeDocument/2006/relationships/image" Target="../media/image34.jpeg"/><Relationship Id="rId15" Type="http://schemas.openxmlformats.org/officeDocument/2006/relationships/image" Target="../media/image44.png"/><Relationship Id="rId23" Type="http://schemas.openxmlformats.org/officeDocument/2006/relationships/image" Target="../media/image52.png"/><Relationship Id="rId28" Type="http://schemas.openxmlformats.org/officeDocument/2006/relationships/image" Target="../media/image57.jpe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image" Target="../media/image33.jpe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1.png"/><Relationship Id="rId27" Type="http://schemas.openxmlformats.org/officeDocument/2006/relationships/image" Target="../media/image56.emf"/><Relationship Id="rId30" Type="http://schemas.openxmlformats.org/officeDocument/2006/relationships/image" Target="../media/image59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_1_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3EF111C-E231-7C41-9AAB-CB4D0A4675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1998" y="1752600"/>
            <a:ext cx="7139128" cy="18288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 rtl="0" fontAlgn="t">
              <a:lnSpc>
                <a:spcPct val="100000"/>
              </a:lnSpc>
              <a:defRPr sz="5000" b="0" i="0">
                <a:solidFill>
                  <a:srgbClr val="22272B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 dirty="0"/>
              <a:t>Heading for presentation in sentenc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E5C445-5756-0341-B763-488A2DA6D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0" y="3886200"/>
            <a:ext cx="7139126" cy="2133600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defRPr sz="2600" b="0" i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04298A-5537-4000-A347-2AA3D89A6D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0082" y="373063"/>
            <a:ext cx="1142998" cy="38893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15F04927-E63E-3CE1-AF4E-91FF4D64C3F2}"/>
              </a:ext>
            </a:extLst>
          </p:cNvPr>
          <p:cNvGrpSpPr/>
          <p:nvPr userDrawn="1"/>
        </p:nvGrpSpPr>
        <p:grpSpPr>
          <a:xfrm>
            <a:off x="8762999" y="-1086"/>
            <a:ext cx="3429001" cy="6859086"/>
            <a:chOff x="8762999" y="-1086"/>
            <a:chExt cx="3429001" cy="685908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81C86B2-A022-0DC5-37A5-21B60BB1C58D}"/>
                </a:ext>
              </a:extLst>
            </p:cNvPr>
            <p:cNvSpPr>
              <a:spLocks/>
            </p:cNvSpPr>
            <p:nvPr userDrawn="1"/>
          </p:nvSpPr>
          <p:spPr>
            <a:xfrm>
              <a:off x="10348687" y="-1086"/>
              <a:ext cx="425994" cy="162509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7" name="Picture 6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4917137B-DA7C-1367-9327-89CB939F43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8763000" y="0"/>
              <a:ext cx="3429000" cy="6858000"/>
            </a:xfrm>
            <a:custGeom>
              <a:avLst/>
              <a:gdLst>
                <a:gd name="connsiteX0" fmla="*/ 1719072 w 3429000"/>
                <a:gd name="connsiteY0" fmla="*/ 0 h 6858000"/>
                <a:gd name="connsiteX1" fmla="*/ 3429000 w 3429000"/>
                <a:gd name="connsiteY1" fmla="*/ 0 h 6858000"/>
                <a:gd name="connsiteX2" fmla="*/ 3429000 w 3429000"/>
                <a:gd name="connsiteY2" fmla="*/ 6858000 h 6858000"/>
                <a:gd name="connsiteX3" fmla="*/ 0 w 3429000"/>
                <a:gd name="connsiteY3" fmla="*/ 6858000 h 6858000"/>
                <a:gd name="connsiteX4" fmla="*/ 0 w 3429000"/>
                <a:gd name="connsiteY4" fmla="*/ 1719072 h 6858000"/>
                <a:gd name="connsiteX5" fmla="*/ 1719072 w 3429000"/>
                <a:gd name="connsiteY5" fmla="*/ 171907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0" h="6858000">
                  <a:moveTo>
                    <a:pt x="1719072" y="0"/>
                  </a:moveTo>
                  <a:lnTo>
                    <a:pt x="3429000" y="0"/>
                  </a:lnTo>
                  <a:lnTo>
                    <a:pt x="3429000" y="6858000"/>
                  </a:lnTo>
                  <a:lnTo>
                    <a:pt x="0" y="6858000"/>
                  </a:lnTo>
                  <a:lnTo>
                    <a:pt x="0" y="1719072"/>
                  </a:lnTo>
                  <a:lnTo>
                    <a:pt x="1719072" y="1719072"/>
                  </a:lnTo>
                  <a:close/>
                </a:path>
              </a:pathLst>
            </a:custGeom>
          </p:spPr>
        </p:pic>
        <p:pic>
          <p:nvPicPr>
            <p:cNvPr id="8" name="Picture 7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8E668FF7-7216-8FC8-E35B-C54C93C31D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5400000">
              <a:off x="8764085" y="-1086"/>
              <a:ext cx="1717092" cy="1719263"/>
            </a:xfrm>
            <a:custGeom>
              <a:avLst/>
              <a:gdLst>
                <a:gd name="connsiteX0" fmla="*/ 0 w 1717092"/>
                <a:gd name="connsiteY0" fmla="*/ 0 h 1714500"/>
                <a:gd name="connsiteX1" fmla="*/ 1717092 w 1717092"/>
                <a:gd name="connsiteY1" fmla="*/ 0 h 1714500"/>
                <a:gd name="connsiteX2" fmla="*/ 1717092 w 1717092"/>
                <a:gd name="connsiteY2" fmla="*/ 1714500 h 1714500"/>
                <a:gd name="connsiteX3" fmla="*/ 0 w 1717092"/>
                <a:gd name="connsiteY3" fmla="*/ 171450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7092" h="1714500">
                  <a:moveTo>
                    <a:pt x="0" y="0"/>
                  </a:moveTo>
                  <a:lnTo>
                    <a:pt x="1717092" y="0"/>
                  </a:lnTo>
                  <a:lnTo>
                    <a:pt x="1717092" y="1714500"/>
                  </a:lnTo>
                  <a:lnTo>
                    <a:pt x="0" y="1714500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3205030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852D887-35B0-477D-997B-30F148BF99FD}"/>
              </a:ext>
            </a:extLst>
          </p:cNvPr>
          <p:cNvSpPr txBox="1"/>
          <p:nvPr userDrawn="1"/>
        </p:nvSpPr>
        <p:spPr>
          <a:xfrm rot="16200000">
            <a:off x="-1904997" y="1904998"/>
            <a:ext cx="6858001" cy="3047996"/>
          </a:xfrm>
          <a:prstGeom prst="rect">
            <a:avLst/>
          </a:prstGeom>
          <a:solidFill>
            <a:srgbClr val="4A4F54"/>
          </a:solidFill>
        </p:spPr>
        <p:txBody>
          <a:bodyPr wrap="square" lIns="0" tIns="91440" rIns="457200" bIns="91440" rtlCol="0" anchor="ctr">
            <a:noAutofit/>
          </a:bodyPr>
          <a:lstStyle/>
          <a:p>
            <a:pPr marL="0" algn="l" defTabSz="914400" rtl="0" eaLnBrk="1" latinLnBrk="0" hangingPunct="1">
              <a:lnSpc>
                <a:spcPct val="100000"/>
              </a:lnSpc>
            </a:pPr>
            <a:endParaRPr lang="en-US" sz="4800" spc="200">
              <a:solidFill>
                <a:schemeClr val="bg1"/>
              </a:solidFill>
              <a:latin typeface="+mj-lt"/>
              <a:ea typeface="Roboto" panose="02000000000000000000" pitchFamily="2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548570-10C5-403B-BF56-F645220EEBCA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191000" y="717937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C646444-E1EE-42E4-A2D4-C98D9B0D049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91000" y="1862461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8DFBD38F-C13A-4A55-BEF1-EF7619363DA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191000" y="3006985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7811B9BD-0CB7-43CB-8A5B-ADB65C36406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191000" y="4151509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57FDB316-0518-4659-B304-AA9B464C78B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191000" y="5296033"/>
            <a:ext cx="72390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0ED5C4-3CFD-624A-AE83-05B6F2017D75}"/>
              </a:ext>
            </a:extLst>
          </p:cNvPr>
          <p:cNvSpPr txBox="1"/>
          <p:nvPr userDrawn="1"/>
        </p:nvSpPr>
        <p:spPr>
          <a:xfrm>
            <a:off x="0" y="3134044"/>
            <a:ext cx="3047997" cy="5899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ts val="4600"/>
              </a:lnSpc>
            </a:pPr>
            <a:r>
              <a:rPr lang="en-US" sz="4400" b="0" i="0" dirty="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Agenda</a:t>
            </a:r>
          </a:p>
        </p:txBody>
      </p:sp>
      <p:pic>
        <p:nvPicPr>
          <p:cNvPr id="2" name="Picture 1" descr="A blue and grey square&#10;&#10;Description automatically generated">
            <a:extLst>
              <a:ext uri="{FF2B5EF4-FFF2-40B4-BE49-F238E27FC236}">
                <a16:creationId xmlns:a16="http://schemas.microsoft.com/office/drawing/2014/main" id="{7EBE7809-A69B-FC33-0933-8DFB376914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2056" y="-6416"/>
            <a:ext cx="994715" cy="99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1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6C23C-321F-A490-7BC7-C141973B2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93725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AC8AE6-4834-C84A-8611-0EF307BF34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1143000"/>
            <a:ext cx="11133512" cy="5257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36C23C-321F-A490-7BC7-C141973B2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2461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1B838EEB-25BF-7418-98B1-047BC4A53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348713"/>
            <a:ext cx="5079998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Add subhead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2 column heading in sentence cas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3265BF4-246D-2517-CAFD-965F09A762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2014688"/>
            <a:ext cx="5079998" cy="43506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704DAD1-A038-C002-4838-15C2E64BD3FE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50002" y="2014688"/>
            <a:ext cx="5079998" cy="43506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64">
            <a:extLst>
              <a:ext uri="{FF2B5EF4-FFF2-40B4-BE49-F238E27FC236}">
                <a16:creationId xmlns:a16="http://schemas.microsoft.com/office/drawing/2014/main" id="{DCD54169-2DFD-1B0C-81C1-F493915184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50002" y="1348713"/>
            <a:ext cx="5079998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09861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0C40CEE-4B05-42A9-74AE-E0BBA2AB5784}"/>
              </a:ext>
            </a:extLst>
          </p:cNvPr>
          <p:cNvSpPr>
            <a:spLocks/>
          </p:cNvSpPr>
          <p:nvPr userDrawn="1"/>
        </p:nvSpPr>
        <p:spPr>
          <a:xfrm>
            <a:off x="769373" y="1459755"/>
            <a:ext cx="5237300" cy="4748540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6F337BD8-62A7-FC2F-9D48-CDB17EC90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30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37BD8-62A7-FC2F-9D48-CDB17EC90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4D2D967-53F5-6459-6232-7924978F8BDA}"/>
              </a:ext>
            </a:extLst>
          </p:cNvPr>
          <p:cNvSpPr/>
          <p:nvPr userDrawn="1"/>
        </p:nvSpPr>
        <p:spPr>
          <a:xfrm>
            <a:off x="769374" y="1334258"/>
            <a:ext cx="5251599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850D93E-AAA3-E87E-342B-BAF7D4155F22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933728" y="1989340"/>
            <a:ext cx="4922891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Lorem ipsum 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DBB36A5-D496-6366-0059-DCE34ED49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Heading in sentence ca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8AC76C5-F4A6-5A93-2E36-CC854990F6C3}"/>
              </a:ext>
            </a:extLst>
          </p:cNvPr>
          <p:cNvSpPr/>
          <p:nvPr userDrawn="1"/>
        </p:nvSpPr>
        <p:spPr>
          <a:xfrm>
            <a:off x="769373" y="1595087"/>
            <a:ext cx="5251599" cy="2509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1558A74-4001-4039-95C5-E688CF97A93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3728" y="1459755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44AE154-6703-9175-21EA-7CB739C2F626}"/>
              </a:ext>
            </a:extLst>
          </p:cNvPr>
          <p:cNvSpPr>
            <a:spLocks/>
          </p:cNvSpPr>
          <p:nvPr userDrawn="1"/>
        </p:nvSpPr>
        <p:spPr>
          <a:xfrm>
            <a:off x="6171026" y="1459755"/>
            <a:ext cx="5237300" cy="4748540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4920835-2C73-8A3C-E79D-3F5A2D9E8B79}"/>
              </a:ext>
            </a:extLst>
          </p:cNvPr>
          <p:cNvSpPr/>
          <p:nvPr userDrawn="1"/>
        </p:nvSpPr>
        <p:spPr>
          <a:xfrm>
            <a:off x="6171027" y="1334258"/>
            <a:ext cx="5251599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B0654D4-ED3C-77D6-DF70-F335AE2FC364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335381" y="1989340"/>
            <a:ext cx="4922891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Lorem ipsum 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711328-D23B-BC53-D073-AEB41E4283C4}"/>
              </a:ext>
            </a:extLst>
          </p:cNvPr>
          <p:cNvSpPr/>
          <p:nvPr userDrawn="1"/>
        </p:nvSpPr>
        <p:spPr>
          <a:xfrm>
            <a:off x="6171026" y="1595087"/>
            <a:ext cx="5251599" cy="2509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A5D62E46-D951-34D4-01F2-25831EF6114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5381" y="1459755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sp>
        <p:nvSpPr>
          <p:cNvPr id="16" name="TextBox 15">
            <a:hlinkClick r:id="rId5"/>
            <a:extLst>
              <a:ext uri="{FF2B5EF4-FFF2-40B4-BE49-F238E27FC236}">
                <a16:creationId xmlns:a16="http://schemas.microsoft.com/office/drawing/2014/main" id="{4854F422-1EC1-775B-A534-FC36AE1E3B51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D45CCF-7191-F323-7839-34B940DA5FC2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N°›</a:t>
            </a:fld>
            <a:endParaRPr lang="en-US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47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3 columns heading in sentence cas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3265BF4-246D-2517-CAFD-965F09A762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2014688"/>
            <a:ext cx="3209666" cy="435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1981267-C3DD-C712-C5EF-0DDFA0FF18F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91167" y="2014688"/>
            <a:ext cx="3209666" cy="435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83D11D7-672A-B6A8-37B2-C7CA259E17F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220335" y="2014688"/>
            <a:ext cx="3209666" cy="435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 b="0" i="0">
                <a:solidFill>
                  <a:srgbClr val="22272B"/>
                </a:solidFill>
                <a:latin typeface="+mn-lt"/>
                <a:ea typeface="Roboto" panose="02000000000000000000" pitchFamily="2" charset="0"/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64">
            <a:extLst>
              <a:ext uri="{FF2B5EF4-FFF2-40B4-BE49-F238E27FC236}">
                <a16:creationId xmlns:a16="http://schemas.microsoft.com/office/drawing/2014/main" id="{013C6D39-03DA-A820-9886-00657D04E8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348713"/>
            <a:ext cx="3209665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heading in sentence case</a:t>
            </a:r>
          </a:p>
        </p:txBody>
      </p:sp>
      <p:sp>
        <p:nvSpPr>
          <p:cNvPr id="5" name="Text Placeholder 64">
            <a:extLst>
              <a:ext uri="{FF2B5EF4-FFF2-40B4-BE49-F238E27FC236}">
                <a16:creationId xmlns:a16="http://schemas.microsoft.com/office/drawing/2014/main" id="{B5B6D108-7222-715A-EA4B-E00793F0F0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167" y="1348713"/>
            <a:ext cx="3209665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heading in sentence case</a:t>
            </a:r>
          </a:p>
        </p:txBody>
      </p:sp>
      <p:sp>
        <p:nvSpPr>
          <p:cNvPr id="6" name="Text Placeholder 64">
            <a:extLst>
              <a:ext uri="{FF2B5EF4-FFF2-40B4-BE49-F238E27FC236}">
                <a16:creationId xmlns:a16="http://schemas.microsoft.com/office/drawing/2014/main" id="{A80CBBEE-817B-27E2-E515-651853F276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20334" y="1348713"/>
            <a:ext cx="3209665" cy="560418"/>
          </a:xfrm>
          <a:prstGeom prst="roundRect">
            <a:avLst>
              <a:gd name="adj" fmla="val 8080"/>
            </a:avLst>
          </a:prstGeom>
          <a:solidFill>
            <a:schemeClr val="accent1"/>
          </a:solidFill>
        </p:spPr>
        <p:txBody>
          <a:bodyPr vert="horz" lIns="91440" tIns="0" rIns="0" bIns="0" rtlCol="0" anchor="ctr" anchorCtr="0">
            <a:noAutofit/>
          </a:bodyPr>
          <a:lstStyle>
            <a:lvl1pPr>
              <a:lnSpc>
                <a:spcPct val="110000"/>
              </a:lnSpc>
              <a:defRPr lang="en-US" sz="2000" b="0" i="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01888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-FLow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4B79F7B-CD00-45F3-98F9-AA8A2FF1866A}"/>
              </a:ext>
            </a:extLst>
          </p:cNvPr>
          <p:cNvSpPr/>
          <p:nvPr/>
        </p:nvSpPr>
        <p:spPr>
          <a:xfrm rot="16200000">
            <a:off x="1870908" y="545492"/>
            <a:ext cx="762001" cy="2979823"/>
          </a:xfrm>
          <a:prstGeom prst="roundRect">
            <a:avLst>
              <a:gd name="adj" fmla="val 561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979394E-00EB-4B1C-AC47-3E34F7B72855}"/>
              </a:ext>
            </a:extLst>
          </p:cNvPr>
          <p:cNvSpPr/>
          <p:nvPr userDrawn="1"/>
        </p:nvSpPr>
        <p:spPr>
          <a:xfrm>
            <a:off x="7927737" y="1654403"/>
            <a:ext cx="2883519" cy="762000"/>
          </a:xfrm>
          <a:custGeom>
            <a:avLst/>
            <a:gdLst>
              <a:gd name="connsiteX0" fmla="*/ 0 w 3521855"/>
              <a:gd name="connsiteY0" fmla="*/ 0 h 762000"/>
              <a:gd name="connsiteX1" fmla="*/ 3521855 w 3521855"/>
              <a:gd name="connsiteY1" fmla="*/ 0 h 762000"/>
              <a:gd name="connsiteX2" fmla="*/ 3521855 w 3521855"/>
              <a:gd name="connsiteY2" fmla="*/ 762000 h 762000"/>
              <a:gd name="connsiteX3" fmla="*/ 0 w 3521855"/>
              <a:gd name="connsiteY3" fmla="*/ 762000 h 762000"/>
              <a:gd name="connsiteX4" fmla="*/ 0 w 3521855"/>
              <a:gd name="connsiteY4" fmla="*/ 0 h 762000"/>
              <a:gd name="connsiteX5" fmla="*/ 1 w 3521855"/>
              <a:gd name="connsiteY5" fmla="*/ 212069 h 762000"/>
              <a:gd name="connsiteX6" fmla="*/ 1 w 3521855"/>
              <a:gd name="connsiteY6" fmla="*/ 591872 h 762000"/>
              <a:gd name="connsiteX7" fmla="*/ 327417 w 3521855"/>
              <a:gd name="connsiteY7" fmla="*/ 401970 h 762000"/>
              <a:gd name="connsiteX8" fmla="*/ 1 w 3521855"/>
              <a:gd name="connsiteY8" fmla="*/ 212069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1855" h="762000">
                <a:moveTo>
                  <a:pt x="0" y="0"/>
                </a:moveTo>
                <a:lnTo>
                  <a:pt x="3521855" y="0"/>
                </a:lnTo>
                <a:lnTo>
                  <a:pt x="3521855" y="762000"/>
                </a:lnTo>
                <a:lnTo>
                  <a:pt x="0" y="762000"/>
                </a:lnTo>
                <a:lnTo>
                  <a:pt x="0" y="0"/>
                </a:lnTo>
                <a:close/>
                <a:moveTo>
                  <a:pt x="1" y="212069"/>
                </a:moveTo>
                <a:lnTo>
                  <a:pt x="1" y="591872"/>
                </a:lnTo>
                <a:lnTo>
                  <a:pt x="327417" y="401970"/>
                </a:lnTo>
                <a:lnTo>
                  <a:pt x="1" y="21206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F145A9B-0262-4950-9B51-1A1DA5FCADDC}"/>
              </a:ext>
            </a:extLst>
          </p:cNvPr>
          <p:cNvSpPr/>
          <p:nvPr userDrawn="1"/>
        </p:nvSpPr>
        <p:spPr>
          <a:xfrm>
            <a:off x="10668000" y="1654403"/>
            <a:ext cx="762000" cy="762000"/>
          </a:xfrm>
          <a:prstGeom prst="roundRect">
            <a:avLst>
              <a:gd name="adj" fmla="val 52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1236FAC-5EC4-40E5-9CA0-46175D419FE4}"/>
              </a:ext>
            </a:extLst>
          </p:cNvPr>
          <p:cNvSpPr/>
          <p:nvPr userDrawn="1"/>
        </p:nvSpPr>
        <p:spPr>
          <a:xfrm rot="5400000">
            <a:off x="5848242" y="163355"/>
            <a:ext cx="762000" cy="3744097"/>
          </a:xfrm>
          <a:custGeom>
            <a:avLst/>
            <a:gdLst>
              <a:gd name="connsiteX0" fmla="*/ 0 w 762000"/>
              <a:gd name="connsiteY0" fmla="*/ 3781000 h 3781000"/>
              <a:gd name="connsiteX1" fmla="*/ 0 w 762000"/>
              <a:gd name="connsiteY1" fmla="*/ 259146 h 3781000"/>
              <a:gd name="connsiteX2" fmla="*/ 0 w 762000"/>
              <a:gd name="connsiteY2" fmla="*/ 259145 h 3781000"/>
              <a:gd name="connsiteX3" fmla="*/ 251664 w 762000"/>
              <a:gd name="connsiteY3" fmla="*/ 259145 h 3781000"/>
              <a:gd name="connsiteX4" fmla="*/ 401967 w 762000"/>
              <a:gd name="connsiteY4" fmla="*/ 0 h 3781000"/>
              <a:gd name="connsiteX5" fmla="*/ 552270 w 762000"/>
              <a:gd name="connsiteY5" fmla="*/ 259145 h 3781000"/>
              <a:gd name="connsiteX6" fmla="*/ 762000 w 762000"/>
              <a:gd name="connsiteY6" fmla="*/ 259145 h 3781000"/>
              <a:gd name="connsiteX7" fmla="*/ 762000 w 762000"/>
              <a:gd name="connsiteY7" fmla="*/ 259146 h 3781000"/>
              <a:gd name="connsiteX8" fmla="*/ 762000 w 762000"/>
              <a:gd name="connsiteY8" fmla="*/ 3781000 h 3781000"/>
              <a:gd name="connsiteX9" fmla="*/ 591870 w 762000"/>
              <a:gd name="connsiteY9" fmla="*/ 3781000 h 3781000"/>
              <a:gd name="connsiteX10" fmla="*/ 401968 w 762000"/>
              <a:gd name="connsiteY10" fmla="*/ 3453584 h 3781000"/>
              <a:gd name="connsiteX11" fmla="*/ 212067 w 762000"/>
              <a:gd name="connsiteY11" fmla="*/ 3781000 h 37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2000" h="3781000">
                <a:moveTo>
                  <a:pt x="0" y="3781000"/>
                </a:moveTo>
                <a:lnTo>
                  <a:pt x="0" y="259146"/>
                </a:lnTo>
                <a:lnTo>
                  <a:pt x="0" y="259145"/>
                </a:lnTo>
                <a:lnTo>
                  <a:pt x="251664" y="259145"/>
                </a:lnTo>
                <a:lnTo>
                  <a:pt x="401967" y="0"/>
                </a:lnTo>
                <a:lnTo>
                  <a:pt x="552270" y="259145"/>
                </a:lnTo>
                <a:lnTo>
                  <a:pt x="762000" y="259145"/>
                </a:lnTo>
                <a:lnTo>
                  <a:pt x="762000" y="259146"/>
                </a:lnTo>
                <a:lnTo>
                  <a:pt x="762000" y="3781000"/>
                </a:lnTo>
                <a:lnTo>
                  <a:pt x="591870" y="3781000"/>
                </a:lnTo>
                <a:lnTo>
                  <a:pt x="401968" y="3453584"/>
                </a:lnTo>
                <a:lnTo>
                  <a:pt x="212067" y="3781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B96C035-FDAD-4566-AFF2-2D9A91B56CF7}"/>
              </a:ext>
            </a:extLst>
          </p:cNvPr>
          <p:cNvSpPr/>
          <p:nvPr/>
        </p:nvSpPr>
        <p:spPr>
          <a:xfrm rot="5400000">
            <a:off x="3640186" y="1528371"/>
            <a:ext cx="762000" cy="1014065"/>
          </a:xfrm>
          <a:custGeom>
            <a:avLst/>
            <a:gdLst>
              <a:gd name="connsiteX0" fmla="*/ 0 w 762000"/>
              <a:gd name="connsiteY0" fmla="*/ 1014065 h 1014065"/>
              <a:gd name="connsiteX1" fmla="*/ 0 w 762000"/>
              <a:gd name="connsiteY1" fmla="*/ 256616 h 1014065"/>
              <a:gd name="connsiteX2" fmla="*/ 251663 w 762000"/>
              <a:gd name="connsiteY2" fmla="*/ 256616 h 1014065"/>
              <a:gd name="connsiteX3" fmla="*/ 401967 w 762000"/>
              <a:gd name="connsiteY3" fmla="*/ 0 h 1014065"/>
              <a:gd name="connsiteX4" fmla="*/ 552271 w 762000"/>
              <a:gd name="connsiteY4" fmla="*/ 256616 h 1014065"/>
              <a:gd name="connsiteX5" fmla="*/ 762000 w 762000"/>
              <a:gd name="connsiteY5" fmla="*/ 256616 h 1014065"/>
              <a:gd name="connsiteX6" fmla="*/ 762000 w 762000"/>
              <a:gd name="connsiteY6" fmla="*/ 1014065 h 1014065"/>
              <a:gd name="connsiteX7" fmla="*/ 0 w 762000"/>
              <a:gd name="connsiteY7" fmla="*/ 1014065 h 1014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2000" h="1014065">
                <a:moveTo>
                  <a:pt x="0" y="1014065"/>
                </a:moveTo>
                <a:lnTo>
                  <a:pt x="0" y="256616"/>
                </a:lnTo>
                <a:lnTo>
                  <a:pt x="251663" y="256616"/>
                </a:lnTo>
                <a:lnTo>
                  <a:pt x="401967" y="0"/>
                </a:lnTo>
                <a:lnTo>
                  <a:pt x="552271" y="256616"/>
                </a:lnTo>
                <a:lnTo>
                  <a:pt x="762000" y="256616"/>
                </a:lnTo>
                <a:lnTo>
                  <a:pt x="762000" y="1014065"/>
                </a:lnTo>
                <a:lnTo>
                  <a:pt x="0" y="101406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D06B0FB2-1282-4D56-B220-34AE54684C19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991985" y="1730531"/>
            <a:ext cx="2454660" cy="609745"/>
          </a:xfrm>
          <a:prstGeom prst="rect">
            <a:avLst/>
          </a:prstGeom>
          <a:noFill/>
          <a:ln w="6350"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10000"/>
              </a:lnSpc>
              <a:defRPr lang="en-US" sz="2000" b="0" kern="1200" spc="100" baseline="0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55" name="Text Placeholder 36">
            <a:extLst>
              <a:ext uri="{FF2B5EF4-FFF2-40B4-BE49-F238E27FC236}">
                <a16:creationId xmlns:a16="http://schemas.microsoft.com/office/drawing/2014/main" id="{71F359EE-5953-4D5B-9E39-9B196382333D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4871061" y="1730531"/>
            <a:ext cx="2111598" cy="609745"/>
          </a:xfrm>
          <a:prstGeom prst="rect">
            <a:avLst/>
          </a:prstGeom>
          <a:noFill/>
          <a:ln w="6350"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10000"/>
              </a:lnSpc>
              <a:defRPr lang="en-US" sz="2000" b="0" kern="1200" spc="100" baseline="0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80" name="Text Placeholder 36">
            <a:extLst>
              <a:ext uri="{FF2B5EF4-FFF2-40B4-BE49-F238E27FC236}">
                <a16:creationId xmlns:a16="http://schemas.microsoft.com/office/drawing/2014/main" id="{33803B76-4AEC-441F-9001-718A53416CAC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8461710" y="1730531"/>
            <a:ext cx="2111598" cy="609745"/>
          </a:xfrm>
          <a:prstGeom prst="rect">
            <a:avLst/>
          </a:prstGeom>
          <a:noFill/>
          <a:ln w="6350"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10000"/>
              </a:lnSpc>
              <a:defRPr lang="en-US" sz="2000" b="0" kern="1200" spc="100" baseline="0" dirty="0" smtClean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2319FD78-55D0-4542-A977-1C598BB810E5}"/>
              </a:ext>
            </a:extLst>
          </p:cNvPr>
          <p:cNvSpPr/>
          <p:nvPr userDrawn="1"/>
        </p:nvSpPr>
        <p:spPr>
          <a:xfrm rot="5400000">
            <a:off x="7213258" y="1528372"/>
            <a:ext cx="762000" cy="1014065"/>
          </a:xfrm>
          <a:custGeom>
            <a:avLst/>
            <a:gdLst>
              <a:gd name="connsiteX0" fmla="*/ 0 w 762000"/>
              <a:gd name="connsiteY0" fmla="*/ 1014065 h 1014065"/>
              <a:gd name="connsiteX1" fmla="*/ 0 w 762000"/>
              <a:gd name="connsiteY1" fmla="*/ 256616 h 1014065"/>
              <a:gd name="connsiteX2" fmla="*/ 251663 w 762000"/>
              <a:gd name="connsiteY2" fmla="*/ 256616 h 1014065"/>
              <a:gd name="connsiteX3" fmla="*/ 401967 w 762000"/>
              <a:gd name="connsiteY3" fmla="*/ 0 h 1014065"/>
              <a:gd name="connsiteX4" fmla="*/ 552271 w 762000"/>
              <a:gd name="connsiteY4" fmla="*/ 256616 h 1014065"/>
              <a:gd name="connsiteX5" fmla="*/ 762000 w 762000"/>
              <a:gd name="connsiteY5" fmla="*/ 256616 h 1014065"/>
              <a:gd name="connsiteX6" fmla="*/ 762000 w 762000"/>
              <a:gd name="connsiteY6" fmla="*/ 1014065 h 1014065"/>
              <a:gd name="connsiteX7" fmla="*/ 0 w 762000"/>
              <a:gd name="connsiteY7" fmla="*/ 1014065 h 1014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2000" h="1014065">
                <a:moveTo>
                  <a:pt x="0" y="1014065"/>
                </a:moveTo>
                <a:lnTo>
                  <a:pt x="0" y="256616"/>
                </a:lnTo>
                <a:lnTo>
                  <a:pt x="251663" y="256616"/>
                </a:lnTo>
                <a:lnTo>
                  <a:pt x="401967" y="0"/>
                </a:lnTo>
                <a:lnTo>
                  <a:pt x="552271" y="256616"/>
                </a:lnTo>
                <a:lnTo>
                  <a:pt x="762000" y="256616"/>
                </a:lnTo>
                <a:lnTo>
                  <a:pt x="762000" y="1014065"/>
                </a:lnTo>
                <a:lnTo>
                  <a:pt x="0" y="101406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+mn-lt"/>
            </a:endParaRP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BB9D6D2-8712-C045-8EFD-472F4962C3C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631898" y="1804480"/>
            <a:ext cx="466344" cy="461846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160CF63-7C10-C542-B0ED-DB9C7E1F32B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209985" y="1804480"/>
            <a:ext cx="466344" cy="461846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E16BA67E-D4B5-BE4F-9448-F236517FFC2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975180" y="2601798"/>
            <a:ext cx="3075407" cy="37901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4320" indent="-274320">
              <a:lnSpc>
                <a:spcPct val="110000"/>
              </a:lnSpc>
              <a:buFont typeface="Wingdings" pitchFamily="2" charset="2"/>
              <a:buChar char="§"/>
              <a:defRPr sz="1400">
                <a:solidFill>
                  <a:srgbClr val="22272B"/>
                </a:solidFill>
                <a:latin typeface="+mn-lt"/>
              </a:defRPr>
            </a:lvl1pPr>
            <a:lvl2pPr marL="54864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2pPr>
            <a:lvl3pPr marL="82296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DD57228-D6F6-7D48-B5A6-EB0B55FC9FF8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4561342" y="2601799"/>
            <a:ext cx="3075407" cy="37901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4320" indent="-274320">
              <a:lnSpc>
                <a:spcPct val="110000"/>
              </a:lnSpc>
              <a:buFont typeface="Wingdings" pitchFamily="2" charset="2"/>
              <a:buChar char="§"/>
              <a:defRPr sz="1400">
                <a:solidFill>
                  <a:srgbClr val="22272B"/>
                </a:solidFill>
                <a:latin typeface="+mn-lt"/>
              </a:defRPr>
            </a:lvl1pPr>
            <a:lvl2pPr marL="54864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2pPr>
            <a:lvl3pPr marL="82296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5FEE4AD-F059-204C-93B1-43A1BB3C6604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8133217" y="2601799"/>
            <a:ext cx="3075407" cy="37901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4320" indent="-274320">
              <a:lnSpc>
                <a:spcPct val="110000"/>
              </a:lnSpc>
              <a:buFont typeface="Wingdings" pitchFamily="2" charset="2"/>
              <a:buChar char="§"/>
              <a:defRPr sz="1400">
                <a:solidFill>
                  <a:srgbClr val="22272B"/>
                </a:solidFill>
                <a:latin typeface="+mn-lt"/>
              </a:defRPr>
            </a:lvl1pPr>
            <a:lvl2pPr marL="54864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2pPr>
            <a:lvl3pPr marL="822960" indent="-274320">
              <a:lnSpc>
                <a:spcPct val="110000"/>
              </a:lnSpc>
              <a:buFont typeface="Wingdings" pitchFamily="2" charset="2"/>
              <a:buChar char="§"/>
              <a:defRPr>
                <a:solidFill>
                  <a:srgbClr val="22272B"/>
                </a:solidFill>
                <a:latin typeface="+mn-lt"/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320124-AFBB-0F27-B993-D0A3727838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3 columns w/icons heading in sentence ca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3E1485-EE47-C331-CD4B-83060A222D05}"/>
              </a:ext>
            </a:extLst>
          </p:cNvPr>
          <p:cNvSpPr/>
          <p:nvPr userDrawn="1"/>
        </p:nvSpPr>
        <p:spPr>
          <a:xfrm>
            <a:off x="10676271" y="1654402"/>
            <a:ext cx="155052" cy="7620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A91D9F61-4BE7-9E41-9F0C-91845CE358E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811256" y="1804480"/>
            <a:ext cx="466344" cy="461846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60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3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9629901-6A8F-E4C3-90E3-3342937D2163}"/>
              </a:ext>
            </a:extLst>
          </p:cNvPr>
          <p:cNvSpPr>
            <a:spLocks/>
          </p:cNvSpPr>
          <p:nvPr userDrawn="1"/>
        </p:nvSpPr>
        <p:spPr>
          <a:xfrm>
            <a:off x="7933004" y="1720295"/>
            <a:ext cx="3480915" cy="4488000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F891FF1-90DE-C03C-E06A-B05C76EBFA2F}"/>
              </a:ext>
            </a:extLst>
          </p:cNvPr>
          <p:cNvSpPr/>
          <p:nvPr userDrawn="1"/>
        </p:nvSpPr>
        <p:spPr>
          <a:xfrm>
            <a:off x="7920566" y="1338089"/>
            <a:ext cx="3492096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8ABB95-275B-A296-D520-602FB1048001}"/>
              </a:ext>
            </a:extLst>
          </p:cNvPr>
          <p:cNvSpPr/>
          <p:nvPr userDrawn="1"/>
        </p:nvSpPr>
        <p:spPr>
          <a:xfrm>
            <a:off x="7926156" y="1598918"/>
            <a:ext cx="3480914" cy="242754"/>
          </a:xfrm>
          <a:prstGeom prst="rect">
            <a:avLst/>
          </a:prstGeom>
          <a:ln>
            <a:solidFill>
              <a:srgbClr val="00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6F337BD8-62A7-FC2F-9D48-CDB17EC90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30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37BD8-62A7-FC2F-9D48-CDB17EC90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0DBB36A5-D496-6366-0059-DCE34ED4922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Heading in sentence ca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94D392E-A771-9C55-C76B-B02BCB69E294}"/>
              </a:ext>
            </a:extLst>
          </p:cNvPr>
          <p:cNvSpPr>
            <a:spLocks/>
          </p:cNvSpPr>
          <p:nvPr userDrawn="1"/>
        </p:nvSpPr>
        <p:spPr>
          <a:xfrm>
            <a:off x="755071" y="1712343"/>
            <a:ext cx="3480914" cy="4495952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147F74C-1A7F-03D3-E4BB-804A601B954B}"/>
              </a:ext>
            </a:extLst>
          </p:cNvPr>
          <p:cNvSpPr/>
          <p:nvPr userDrawn="1"/>
        </p:nvSpPr>
        <p:spPr>
          <a:xfrm>
            <a:off x="749480" y="1334258"/>
            <a:ext cx="3492096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7E3A8C0-CFD9-ED19-199C-E18878AE8AAC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926357" y="1989340"/>
            <a:ext cx="3159574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Lorem ipsum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EE7A4F-F35E-AD14-1BC8-FAC445EF1683}"/>
              </a:ext>
            </a:extLst>
          </p:cNvPr>
          <p:cNvSpPr/>
          <p:nvPr userDrawn="1"/>
        </p:nvSpPr>
        <p:spPr>
          <a:xfrm>
            <a:off x="755071" y="1595087"/>
            <a:ext cx="3480914" cy="242754"/>
          </a:xfrm>
          <a:prstGeom prst="rect">
            <a:avLst/>
          </a:prstGeom>
          <a:ln>
            <a:solidFill>
              <a:srgbClr val="00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DD5043B2-1D56-CE87-2534-6567C7031EF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6357" y="1459754"/>
            <a:ext cx="3159574" cy="252589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5EE0C8-480F-2C19-1175-2C90148122EF}"/>
              </a:ext>
            </a:extLst>
          </p:cNvPr>
          <p:cNvSpPr>
            <a:spLocks noGrp="1"/>
          </p:cNvSpPr>
          <p:nvPr>
            <p:ph idx="43" hasCustomPrompt="1"/>
          </p:nvPr>
        </p:nvSpPr>
        <p:spPr>
          <a:xfrm>
            <a:off x="8098701" y="1989340"/>
            <a:ext cx="3159574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Lorem ipsum text</a:t>
            </a:r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0FFEFCAE-08E4-0797-189C-F276060879C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098701" y="1459754"/>
            <a:ext cx="3159574" cy="252589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C76AEE64-44FF-10FA-12FB-8BC1C8045362}"/>
              </a:ext>
            </a:extLst>
          </p:cNvPr>
          <p:cNvSpPr>
            <a:spLocks/>
          </p:cNvSpPr>
          <p:nvPr userDrawn="1"/>
        </p:nvSpPr>
        <p:spPr>
          <a:xfrm>
            <a:off x="4350242" y="1712343"/>
            <a:ext cx="3480914" cy="4495952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E8E492C-0C4F-DEE9-34BD-040C90E3AB7F}"/>
              </a:ext>
            </a:extLst>
          </p:cNvPr>
          <p:cNvSpPr/>
          <p:nvPr userDrawn="1"/>
        </p:nvSpPr>
        <p:spPr>
          <a:xfrm>
            <a:off x="4345908" y="1334258"/>
            <a:ext cx="3492096" cy="503582"/>
          </a:xfrm>
          <a:prstGeom prst="roundRect">
            <a:avLst>
              <a:gd name="adj" fmla="val 262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D715AA1-2CB8-F05E-B66D-71571271EBCC}"/>
              </a:ext>
            </a:extLst>
          </p:cNvPr>
          <p:cNvSpPr>
            <a:spLocks noGrp="1"/>
          </p:cNvSpPr>
          <p:nvPr>
            <p:ph idx="45" hasCustomPrompt="1"/>
          </p:nvPr>
        </p:nvSpPr>
        <p:spPr>
          <a:xfrm>
            <a:off x="4521528" y="1989340"/>
            <a:ext cx="3159574" cy="40050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Lorem ipsum tex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C29B944-B71D-D922-9A9C-56124A38426C}"/>
              </a:ext>
            </a:extLst>
          </p:cNvPr>
          <p:cNvSpPr/>
          <p:nvPr userDrawn="1"/>
        </p:nvSpPr>
        <p:spPr>
          <a:xfrm>
            <a:off x="4351498" y="1595087"/>
            <a:ext cx="3480914" cy="242754"/>
          </a:xfrm>
          <a:prstGeom prst="rect">
            <a:avLst/>
          </a:prstGeom>
          <a:ln>
            <a:solidFill>
              <a:srgbClr val="00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2540684A-19D4-0D15-80CB-FF62314FCC6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521528" y="1459754"/>
            <a:ext cx="3159574" cy="252589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sp>
        <p:nvSpPr>
          <p:cNvPr id="30" name="TextBox 29">
            <a:hlinkClick r:id="rId5"/>
            <a:extLst>
              <a:ext uri="{FF2B5EF4-FFF2-40B4-BE49-F238E27FC236}">
                <a16:creationId xmlns:a16="http://schemas.microsoft.com/office/drawing/2014/main" id="{AC790EE3-B6F7-C3FB-9E27-A48AC7882AAA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8BE3CFD-A8E7-C321-8905-DB15A8B1808D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N°›</a:t>
            </a:fld>
            <a:endParaRPr lang="en-US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5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 w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4 points heading in sentence case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B6A85DD-8FB0-476B-DE2A-9E1A3D93F870}"/>
              </a:ext>
            </a:extLst>
          </p:cNvPr>
          <p:cNvSpPr/>
          <p:nvPr userDrawn="1"/>
        </p:nvSpPr>
        <p:spPr>
          <a:xfrm>
            <a:off x="1137666" y="1374848"/>
            <a:ext cx="1709964" cy="1709964"/>
          </a:xfrm>
          <a:prstGeom prst="ellipse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8417FB4-F9AE-6D59-9140-8EDC5B7DFC60}"/>
              </a:ext>
            </a:extLst>
          </p:cNvPr>
          <p:cNvSpPr/>
          <p:nvPr userDrawn="1"/>
        </p:nvSpPr>
        <p:spPr>
          <a:xfrm>
            <a:off x="3873234" y="1374848"/>
            <a:ext cx="1709964" cy="1709964"/>
          </a:xfrm>
          <a:prstGeom prst="ellipse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5CD8717-2B10-FEC2-1A4A-C60E3B103184}"/>
              </a:ext>
            </a:extLst>
          </p:cNvPr>
          <p:cNvSpPr/>
          <p:nvPr userDrawn="1"/>
        </p:nvSpPr>
        <p:spPr>
          <a:xfrm>
            <a:off x="6608801" y="1374848"/>
            <a:ext cx="1709964" cy="1709964"/>
          </a:xfrm>
          <a:prstGeom prst="ellipse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3654E8C-0CF0-1575-A623-3A0A72A2EDA2}"/>
              </a:ext>
            </a:extLst>
          </p:cNvPr>
          <p:cNvSpPr/>
          <p:nvPr userDrawn="1"/>
        </p:nvSpPr>
        <p:spPr>
          <a:xfrm>
            <a:off x="9344369" y="1374848"/>
            <a:ext cx="1709964" cy="1709964"/>
          </a:xfrm>
          <a:prstGeom prst="ellipse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89DD23E-E1C5-4F65-54D6-5137181A157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454455" y="1826675"/>
            <a:ext cx="1076386" cy="835016"/>
          </a:xfrm>
        </p:spPr>
        <p:txBody>
          <a:bodyPr/>
          <a:lstStyle>
            <a:lvl1pPr algn="ctr"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45053BA-F1C5-A2DA-28A6-5BA29F5E098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90023" y="1812322"/>
            <a:ext cx="1076386" cy="835016"/>
          </a:xfrm>
        </p:spPr>
        <p:txBody>
          <a:bodyPr/>
          <a:lstStyle>
            <a:lvl1pPr algn="ctr"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A293CB76-6A7A-175F-E4C0-C897610EED3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25590" y="1812322"/>
            <a:ext cx="1076386" cy="835016"/>
          </a:xfrm>
        </p:spPr>
        <p:txBody>
          <a:bodyPr/>
          <a:lstStyle>
            <a:lvl1pPr algn="ctr"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D50A4EB0-9F12-47BB-E38B-068F143F96A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661158" y="1812322"/>
            <a:ext cx="1076386" cy="835016"/>
          </a:xfrm>
        </p:spPr>
        <p:txBody>
          <a:bodyPr/>
          <a:lstStyle>
            <a:lvl1pPr algn="ctr"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AED31B1-187A-D11A-AB71-FE74FB3253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3862688"/>
            <a:ext cx="2461298" cy="2538112"/>
          </a:xfrm>
        </p:spPr>
        <p:txBody>
          <a:bodyPr/>
          <a:lstStyle>
            <a:lvl1pPr algn="ctr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043BB15A-EDBD-EA08-38FD-E96921C49A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7567" y="3862688"/>
            <a:ext cx="2461298" cy="2538112"/>
          </a:xfrm>
        </p:spPr>
        <p:txBody>
          <a:bodyPr/>
          <a:lstStyle>
            <a:lvl1pPr algn="ctr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2C74C8E7-04AF-B6A6-BDE6-E6B553B475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134" y="3862688"/>
            <a:ext cx="2461298" cy="2538112"/>
          </a:xfrm>
        </p:spPr>
        <p:txBody>
          <a:bodyPr/>
          <a:lstStyle>
            <a:lvl1pPr algn="ctr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F9CDBC5-47DA-F43F-B162-56137C6309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68702" y="3862688"/>
            <a:ext cx="2461298" cy="2538112"/>
          </a:xfrm>
        </p:spPr>
        <p:txBody>
          <a:bodyPr/>
          <a:lstStyle>
            <a:lvl1pPr algn="ctr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B4FA7A74-A6C7-DC09-0DD8-EC0A7C56ED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2000" y="3348338"/>
            <a:ext cx="2461298" cy="401637"/>
          </a:xfrm>
        </p:spPr>
        <p:txBody>
          <a:bodyPr anchor="ctr"/>
          <a:lstStyle>
            <a:lvl1pPr algn="ctr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3A78DDB6-B96F-F961-8659-5AA62B19908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97567" y="3348338"/>
            <a:ext cx="2461298" cy="401637"/>
          </a:xfrm>
        </p:spPr>
        <p:txBody>
          <a:bodyPr anchor="ctr"/>
          <a:lstStyle>
            <a:lvl1pPr algn="ctr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6A068B31-5941-23C6-0304-B6FAC46043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33134" y="3348338"/>
            <a:ext cx="2461298" cy="401637"/>
          </a:xfrm>
        </p:spPr>
        <p:txBody>
          <a:bodyPr anchor="ctr"/>
          <a:lstStyle>
            <a:lvl1pPr algn="ctr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CCF65C0F-ADC5-ADCA-599B-8185025BA3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8702" y="3348338"/>
            <a:ext cx="2461298" cy="401637"/>
          </a:xfrm>
        </p:spPr>
        <p:txBody>
          <a:bodyPr anchor="ctr"/>
          <a:lstStyle>
            <a:lvl1pPr algn="ctr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393156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Content_T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FFCDC61-2E1A-8E4E-F50F-20282D1ADAB3}"/>
              </a:ext>
            </a:extLst>
          </p:cNvPr>
          <p:cNvSpPr/>
          <p:nvPr userDrawn="1"/>
        </p:nvSpPr>
        <p:spPr>
          <a:xfrm>
            <a:off x="769374" y="3987716"/>
            <a:ext cx="5251599" cy="2529608"/>
          </a:xfrm>
          <a:prstGeom prst="roundRect">
            <a:avLst>
              <a:gd name="adj" fmla="val 3349"/>
            </a:avLst>
          </a:prstGeom>
          <a:solidFill>
            <a:srgbClr val="F3ECE3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65DA72D-DF7E-65D3-2DF1-18E3F7E7BFD7}"/>
              </a:ext>
            </a:extLst>
          </p:cNvPr>
          <p:cNvSpPr/>
          <p:nvPr userDrawn="1"/>
        </p:nvSpPr>
        <p:spPr>
          <a:xfrm>
            <a:off x="6185331" y="3987716"/>
            <a:ext cx="5251599" cy="2529608"/>
          </a:xfrm>
          <a:prstGeom prst="roundRect">
            <a:avLst>
              <a:gd name="adj" fmla="val 3349"/>
            </a:avLst>
          </a:prstGeom>
          <a:solidFill>
            <a:srgbClr val="F3ECE3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6A01D7F-D50C-10FE-9EEF-7058624FC60E}"/>
              </a:ext>
            </a:extLst>
          </p:cNvPr>
          <p:cNvSpPr/>
          <p:nvPr userDrawn="1"/>
        </p:nvSpPr>
        <p:spPr>
          <a:xfrm>
            <a:off x="6185331" y="1295853"/>
            <a:ext cx="5251599" cy="2529608"/>
          </a:xfrm>
          <a:prstGeom prst="roundRect">
            <a:avLst>
              <a:gd name="adj" fmla="val 3349"/>
            </a:avLst>
          </a:prstGeom>
          <a:solidFill>
            <a:srgbClr val="F3ECE3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6F337BD8-62A7-FC2F-9D48-CDB17EC90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30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37BD8-62A7-FC2F-9D48-CDB17EC90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4D2D967-53F5-6459-6232-7924978F8BDA}"/>
              </a:ext>
            </a:extLst>
          </p:cNvPr>
          <p:cNvSpPr/>
          <p:nvPr userDrawn="1"/>
        </p:nvSpPr>
        <p:spPr>
          <a:xfrm>
            <a:off x="769374" y="1295401"/>
            <a:ext cx="5251599" cy="2529608"/>
          </a:xfrm>
          <a:prstGeom prst="roundRect">
            <a:avLst>
              <a:gd name="adj" fmla="val 3349"/>
            </a:avLst>
          </a:prstGeom>
          <a:solidFill>
            <a:srgbClr val="F3ECE3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t"/>
          <a:lstStyle/>
          <a:p>
            <a:pPr>
              <a:lnSpc>
                <a:spcPct val="110000"/>
              </a:lnSpc>
              <a:spcBef>
                <a:spcPts val="200"/>
              </a:spcBef>
            </a:pPr>
            <a:endParaRPr lang="en-US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850D93E-AAA3-E87E-342B-BAF7D4155F22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933728" y="1876698"/>
            <a:ext cx="4922891" cy="1783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Lorem ipsum tex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A8F560E-677D-0ACF-AFF9-A2AC374E7555}"/>
              </a:ext>
            </a:extLst>
          </p:cNvPr>
          <p:cNvSpPr>
            <a:spLocks noGrp="1"/>
          </p:cNvSpPr>
          <p:nvPr>
            <p:ph idx="42" hasCustomPrompt="1"/>
          </p:nvPr>
        </p:nvSpPr>
        <p:spPr>
          <a:xfrm>
            <a:off x="6349683" y="1876698"/>
            <a:ext cx="4922891" cy="1783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Lorem ipsum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BB41A44-7818-244A-6E0A-71631E0EF3B6}"/>
              </a:ext>
            </a:extLst>
          </p:cNvPr>
          <p:cNvSpPr>
            <a:spLocks noGrp="1"/>
          </p:cNvSpPr>
          <p:nvPr>
            <p:ph idx="44" hasCustomPrompt="1"/>
          </p:nvPr>
        </p:nvSpPr>
        <p:spPr>
          <a:xfrm>
            <a:off x="933728" y="4560113"/>
            <a:ext cx="4922891" cy="1783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Lorem ipsum tex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B9C58BD-080C-1C5D-274D-F5CADCE44222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349683" y="4560113"/>
            <a:ext cx="4922891" cy="1783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lnSpc>
                <a:spcPct val="110000"/>
              </a:lnSpc>
              <a:buFont typeface="Wingdings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7432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2pPr>
            <a:lvl3pPr marL="548640" indent="0">
              <a:lnSpc>
                <a:spcPct val="110000"/>
              </a:lnSpc>
              <a:buFont typeface="Wingdings" pitchFamily="2" charset="2"/>
              <a:buNone/>
              <a:defRPr>
                <a:solidFill>
                  <a:srgbClr val="001E26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Lorem ipsum 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DBB36A5-D496-6366-0059-DCE34ED49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1558A74-4001-4039-95C5-E688CF97A93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3728" y="1459755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00AAB5BB-789F-770F-C47E-597A3C43621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49683" y="1459755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55A08858-2206-0013-DDA6-804CD1198A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3728" y="4143170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6427CD91-820E-86BA-22FE-1D586C1724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349683" y="4143170"/>
            <a:ext cx="4922891" cy="252588"/>
          </a:xfrm>
        </p:spPr>
        <p:txBody>
          <a:bodyPr/>
          <a:lstStyle>
            <a:lvl1pPr>
              <a:lnSpc>
                <a:spcPct val="110000"/>
              </a:lnSpc>
              <a:defRPr sz="16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48365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_2_Teal">
    <p:bg>
      <p:bgPr>
        <a:solidFill>
          <a:srgbClr val="0065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3EF111C-E231-7C41-9AAB-CB4D0A4675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0" y="1752600"/>
            <a:ext cx="7254536" cy="18288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 rtl="0" fontAlgn="t">
              <a:lnSpc>
                <a:spcPct val="100000"/>
              </a:lnSpc>
              <a:defRPr sz="5000" b="0" i="0">
                <a:solidFill>
                  <a:schemeClr val="bg1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 dirty="0"/>
              <a:t>Heading for presentation in sentenc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E5C445-5756-0341-B763-488A2DA6D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0" y="3886200"/>
            <a:ext cx="7254536" cy="1371600"/>
          </a:xfrm>
        </p:spPr>
        <p:txBody>
          <a:bodyPr>
            <a:noAutofit/>
          </a:bodyPr>
          <a:lstStyle>
            <a:lvl1pPr>
              <a:defRPr sz="2800" b="0" i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504298A-5537-4000-A347-2AA3D89A6D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41245" y="222143"/>
            <a:ext cx="1349385" cy="825422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289729D-8609-4FFA-1AB0-3D8F1ADEB278}"/>
              </a:ext>
            </a:extLst>
          </p:cNvPr>
          <p:cNvGrpSpPr/>
          <p:nvPr userDrawn="1"/>
        </p:nvGrpSpPr>
        <p:grpSpPr>
          <a:xfrm>
            <a:off x="8762999" y="0"/>
            <a:ext cx="3429001" cy="6858000"/>
            <a:chOff x="8762999" y="0"/>
            <a:chExt cx="3429001" cy="6858000"/>
          </a:xfrm>
        </p:grpSpPr>
        <p:pic>
          <p:nvPicPr>
            <p:cNvPr id="11" name="Picture 10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A3CF763C-7B82-01EB-FEC2-49A0F6C148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8763000" y="0"/>
              <a:ext cx="3429000" cy="6858000"/>
            </a:xfrm>
            <a:custGeom>
              <a:avLst/>
              <a:gdLst>
                <a:gd name="connsiteX0" fmla="*/ 1704392 w 3429000"/>
                <a:gd name="connsiteY0" fmla="*/ 0 h 6858000"/>
                <a:gd name="connsiteX1" fmla="*/ 3429000 w 3429000"/>
                <a:gd name="connsiteY1" fmla="*/ 0 h 6858000"/>
                <a:gd name="connsiteX2" fmla="*/ 3429000 w 3429000"/>
                <a:gd name="connsiteY2" fmla="*/ 6858000 h 6858000"/>
                <a:gd name="connsiteX3" fmla="*/ 0 w 3429000"/>
                <a:gd name="connsiteY3" fmla="*/ 6858000 h 6858000"/>
                <a:gd name="connsiteX4" fmla="*/ 0 w 3429000"/>
                <a:gd name="connsiteY4" fmla="*/ 1714500 h 6858000"/>
                <a:gd name="connsiteX5" fmla="*/ 1704392 w 3429000"/>
                <a:gd name="connsiteY5" fmla="*/ 17145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0" h="6858000">
                  <a:moveTo>
                    <a:pt x="1704392" y="0"/>
                  </a:moveTo>
                  <a:lnTo>
                    <a:pt x="3429000" y="0"/>
                  </a:lnTo>
                  <a:lnTo>
                    <a:pt x="3429000" y="6858000"/>
                  </a:lnTo>
                  <a:lnTo>
                    <a:pt x="0" y="6858000"/>
                  </a:lnTo>
                  <a:lnTo>
                    <a:pt x="0" y="1714500"/>
                  </a:lnTo>
                  <a:lnTo>
                    <a:pt x="1704392" y="1714500"/>
                  </a:lnTo>
                  <a:close/>
                </a:path>
              </a:pathLst>
            </a:custGeom>
          </p:spPr>
        </p:pic>
        <p:pic>
          <p:nvPicPr>
            <p:cNvPr id="12" name="Picture 11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E1AC5D52-7560-37BB-DC84-415E0A8CF5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5400000">
              <a:off x="8761704" y="5142204"/>
              <a:ext cx="1717092" cy="1714500"/>
            </a:xfrm>
            <a:custGeom>
              <a:avLst/>
              <a:gdLst>
                <a:gd name="connsiteX0" fmla="*/ 0 w 1717092"/>
                <a:gd name="connsiteY0" fmla="*/ 0 h 1714500"/>
                <a:gd name="connsiteX1" fmla="*/ 1717092 w 1717092"/>
                <a:gd name="connsiteY1" fmla="*/ 0 h 1714500"/>
                <a:gd name="connsiteX2" fmla="*/ 1717092 w 1717092"/>
                <a:gd name="connsiteY2" fmla="*/ 1714500 h 1714500"/>
                <a:gd name="connsiteX3" fmla="*/ 0 w 1717092"/>
                <a:gd name="connsiteY3" fmla="*/ 171450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7092" h="1714500">
                  <a:moveTo>
                    <a:pt x="0" y="0"/>
                  </a:moveTo>
                  <a:lnTo>
                    <a:pt x="1717092" y="0"/>
                  </a:lnTo>
                  <a:lnTo>
                    <a:pt x="1717092" y="1714500"/>
                  </a:lnTo>
                  <a:lnTo>
                    <a:pt x="0" y="1714500"/>
                  </a:lnTo>
                  <a:close/>
                </a:path>
              </a:pathLst>
            </a:custGeom>
          </p:spPr>
        </p:pic>
        <p:pic>
          <p:nvPicPr>
            <p:cNvPr id="15" name="Picture 14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36D5EACB-03FE-1164-1058-6BCE671EC3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5400000">
              <a:off x="8764085" y="-1086"/>
              <a:ext cx="1717092" cy="1719263"/>
            </a:xfrm>
            <a:custGeom>
              <a:avLst/>
              <a:gdLst>
                <a:gd name="connsiteX0" fmla="*/ 0 w 1717092"/>
                <a:gd name="connsiteY0" fmla="*/ 0 h 1714500"/>
                <a:gd name="connsiteX1" fmla="*/ 1717092 w 1717092"/>
                <a:gd name="connsiteY1" fmla="*/ 0 h 1714500"/>
                <a:gd name="connsiteX2" fmla="*/ 1717092 w 1717092"/>
                <a:gd name="connsiteY2" fmla="*/ 1714500 h 1714500"/>
                <a:gd name="connsiteX3" fmla="*/ 0 w 1717092"/>
                <a:gd name="connsiteY3" fmla="*/ 171450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7092" h="1714500">
                  <a:moveTo>
                    <a:pt x="0" y="0"/>
                  </a:moveTo>
                  <a:lnTo>
                    <a:pt x="1717092" y="0"/>
                  </a:lnTo>
                  <a:lnTo>
                    <a:pt x="1717092" y="1714500"/>
                  </a:lnTo>
                  <a:lnTo>
                    <a:pt x="0" y="1714500"/>
                  </a:lnTo>
                  <a:close/>
                </a:path>
              </a:pathLst>
            </a:cu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50D5DA4-36B2-2E91-3A59-1AA434B5B690}"/>
                </a:ext>
              </a:extLst>
            </p:cNvPr>
            <p:cNvSpPr/>
            <p:nvPr userDrawn="1"/>
          </p:nvSpPr>
          <p:spPr>
            <a:xfrm>
              <a:off x="10086974" y="0"/>
              <a:ext cx="390525" cy="39052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59756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2DB3A528-7D28-1E75-757B-AB153140F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67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B3A528-7D28-1E75-757B-AB153140F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09FA79B-AF66-F7D6-2906-8B7EEA218685}"/>
              </a:ext>
            </a:extLst>
          </p:cNvPr>
          <p:cNvSpPr>
            <a:spLocks/>
          </p:cNvSpPr>
          <p:nvPr userDrawn="1"/>
        </p:nvSpPr>
        <p:spPr>
          <a:xfrm>
            <a:off x="0" y="4581239"/>
            <a:ext cx="12212781" cy="1715863"/>
          </a:xfrm>
          <a:prstGeom prst="rect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A87AE7-69F5-A1B0-75B1-ADD2EC8614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337800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5" name="Chart Placeholder 3">
            <a:extLst>
              <a:ext uri="{FF2B5EF4-FFF2-40B4-BE49-F238E27FC236}">
                <a16:creationId xmlns:a16="http://schemas.microsoft.com/office/drawing/2014/main" id="{8073B179-336D-6E20-BFA4-CD2F68173993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761999" y="1117027"/>
            <a:ext cx="10668001" cy="49774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>
            <a:noAutofit/>
          </a:bodyPr>
          <a:lstStyle>
            <a:lvl1pPr algn="ctr">
              <a:lnSpc>
                <a:spcPct val="11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411408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_Chart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B8F56D-656A-5F2A-774E-F5FFA10B3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817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B8F56D-656A-5F2A-774E-F5FFA10B3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2548DB9B-3541-4BB4-BF30-1C6ECCF5B6C1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62000" y="1219200"/>
            <a:ext cx="4191000" cy="516009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85E332-E541-5C4F-B428-B798F285D5E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257800" y="1219200"/>
            <a:ext cx="617220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>
                <a:solidFill>
                  <a:srgbClr val="22272B"/>
                </a:solidFill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Bullet 1</a:t>
            </a:r>
          </a:p>
          <a:p>
            <a:pPr lvl="2"/>
            <a:r>
              <a:rPr lang="en-US"/>
              <a:t>Bullet 2</a:t>
            </a:r>
          </a:p>
          <a:p>
            <a:pPr lvl="3"/>
            <a:r>
              <a:rPr lang="en-US"/>
              <a:t>Bullet 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A87AE7-69F5-A1B0-75B1-ADD2EC8614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03749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7020DB2-B15C-7C2B-3230-E381EBA6BBB5}"/>
              </a:ext>
            </a:extLst>
          </p:cNvPr>
          <p:cNvCxnSpPr>
            <a:cxnSpLocks/>
          </p:cNvCxnSpPr>
          <p:nvPr/>
        </p:nvCxnSpPr>
        <p:spPr>
          <a:xfrm>
            <a:off x="1840888" y="3769237"/>
            <a:ext cx="1" cy="5635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C6782AF-0E67-0AA2-C274-6F6ABACF0450}"/>
              </a:ext>
            </a:extLst>
          </p:cNvPr>
          <p:cNvCxnSpPr>
            <a:cxnSpLocks/>
          </p:cNvCxnSpPr>
          <p:nvPr/>
        </p:nvCxnSpPr>
        <p:spPr>
          <a:xfrm flipV="1">
            <a:off x="3970030" y="3109570"/>
            <a:ext cx="1" cy="5635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A024122-08A0-F137-187B-309F5E1EB0AA}"/>
              </a:ext>
            </a:extLst>
          </p:cNvPr>
          <p:cNvCxnSpPr>
            <a:cxnSpLocks/>
          </p:cNvCxnSpPr>
          <p:nvPr userDrawn="1"/>
        </p:nvCxnSpPr>
        <p:spPr>
          <a:xfrm flipV="1">
            <a:off x="8228317" y="3109570"/>
            <a:ext cx="1" cy="563501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89EE900-E95D-CDB0-2BFF-5B2377A805AF}"/>
              </a:ext>
            </a:extLst>
          </p:cNvPr>
          <p:cNvCxnSpPr>
            <a:cxnSpLocks/>
          </p:cNvCxnSpPr>
          <p:nvPr/>
        </p:nvCxnSpPr>
        <p:spPr>
          <a:xfrm>
            <a:off x="6099173" y="3769237"/>
            <a:ext cx="1" cy="5635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2DB3A528-7D28-1E75-757B-AB153140F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120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B3A528-7D28-1E75-757B-AB153140F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A87AE7-69F5-A1B0-75B1-ADD2EC8614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Heading in sentence case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D1963263-EDA9-A8FC-3606-0C8873043F41}"/>
              </a:ext>
            </a:extLst>
          </p:cNvPr>
          <p:cNvSpPr/>
          <p:nvPr userDrawn="1"/>
        </p:nvSpPr>
        <p:spPr>
          <a:xfrm>
            <a:off x="768350" y="3617570"/>
            <a:ext cx="2145076" cy="207168"/>
          </a:xfrm>
          <a:prstGeom prst="chevron">
            <a:avLst>
              <a:gd name="adj" fmla="val 290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09C42CBE-C778-354B-6F74-94E251B9ED3D}"/>
              </a:ext>
            </a:extLst>
          </p:cNvPr>
          <p:cNvSpPr/>
          <p:nvPr userDrawn="1"/>
        </p:nvSpPr>
        <p:spPr>
          <a:xfrm>
            <a:off x="2897493" y="3617570"/>
            <a:ext cx="2145076" cy="207168"/>
          </a:xfrm>
          <a:prstGeom prst="chevron">
            <a:avLst>
              <a:gd name="adj" fmla="val 29072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6F2B69B8-3F52-950B-2980-F5AB5AF56577}"/>
              </a:ext>
            </a:extLst>
          </p:cNvPr>
          <p:cNvSpPr/>
          <p:nvPr userDrawn="1"/>
        </p:nvSpPr>
        <p:spPr>
          <a:xfrm>
            <a:off x="5026636" y="3617570"/>
            <a:ext cx="2145076" cy="207168"/>
          </a:xfrm>
          <a:prstGeom prst="chevron">
            <a:avLst>
              <a:gd name="adj" fmla="val 2907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FDC34285-AE4B-8166-E31A-A32F2FB67202}"/>
              </a:ext>
            </a:extLst>
          </p:cNvPr>
          <p:cNvSpPr/>
          <p:nvPr userDrawn="1"/>
        </p:nvSpPr>
        <p:spPr>
          <a:xfrm>
            <a:off x="7155779" y="3617570"/>
            <a:ext cx="2145076" cy="207168"/>
          </a:xfrm>
          <a:prstGeom prst="chevron">
            <a:avLst>
              <a:gd name="adj" fmla="val 2907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DF6D1544-0421-FA3A-4BF1-2DBC6EE0B7DE}"/>
              </a:ext>
            </a:extLst>
          </p:cNvPr>
          <p:cNvSpPr/>
          <p:nvPr userDrawn="1"/>
        </p:nvSpPr>
        <p:spPr>
          <a:xfrm>
            <a:off x="9284924" y="3617570"/>
            <a:ext cx="2145076" cy="207168"/>
          </a:xfrm>
          <a:prstGeom prst="chevron">
            <a:avLst>
              <a:gd name="adj" fmla="val 29072"/>
            </a:avLst>
          </a:prstGeom>
          <a:solidFill>
            <a:srgbClr val="FDB5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>
              <a:solidFill>
                <a:schemeClr val="tx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4ACC2A9-D662-2971-4623-A59A2A00FF72}"/>
              </a:ext>
            </a:extLst>
          </p:cNvPr>
          <p:cNvCxnSpPr>
            <a:cxnSpLocks/>
          </p:cNvCxnSpPr>
          <p:nvPr/>
        </p:nvCxnSpPr>
        <p:spPr>
          <a:xfrm>
            <a:off x="10339024" y="3824738"/>
            <a:ext cx="0" cy="508000"/>
          </a:xfrm>
          <a:prstGeom prst="line">
            <a:avLst/>
          </a:prstGeom>
          <a:ln>
            <a:solidFill>
              <a:srgbClr val="FDB5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A5E24BE8-1719-9EA0-3FE3-A51F6D069D1D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70499" y="2062585"/>
            <a:ext cx="2286000" cy="140331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sz="1400" b="0">
                <a:solidFill>
                  <a:srgbClr val="22272B"/>
                </a:solidFill>
              </a:defRPr>
            </a:lvl1pPr>
            <a:lvl2pPr marL="0" indent="0" algn="ctr">
              <a:lnSpc>
                <a:spcPct val="100000"/>
              </a:lnSpc>
              <a:defRPr lang="en-US" sz="1400" b="0" kern="1200" dirty="0" smtClean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F764B9DB-8795-8F01-EB33-029B6D19E955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956174" y="2062585"/>
            <a:ext cx="2286000" cy="140331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sz="1400" b="0">
                <a:solidFill>
                  <a:srgbClr val="22272B"/>
                </a:solidFill>
              </a:defRPr>
            </a:lvl1pPr>
            <a:lvl2pPr marL="0" indent="0" algn="ctr">
              <a:lnSpc>
                <a:spcPct val="100000"/>
              </a:lnSpc>
              <a:defRPr lang="en-US" sz="1400" b="0" kern="1200" dirty="0" smtClean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1DE11EDE-A828-D165-B795-46CB9423A0DC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9144000" y="2062585"/>
            <a:ext cx="2286000" cy="140331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sz="1400" b="0">
                <a:solidFill>
                  <a:srgbClr val="22272B"/>
                </a:solidFill>
              </a:defRPr>
            </a:lvl1pPr>
            <a:lvl2pPr marL="0" indent="0" algn="ctr">
              <a:lnSpc>
                <a:spcPct val="100000"/>
              </a:lnSpc>
              <a:defRPr lang="en-US" sz="1400" b="0" kern="1200" dirty="0" smtClean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55" name="Text Placeholder 36">
            <a:extLst>
              <a:ext uri="{FF2B5EF4-FFF2-40B4-BE49-F238E27FC236}">
                <a16:creationId xmlns:a16="http://schemas.microsoft.com/office/drawing/2014/main" id="{8A4DA89C-E777-9B9E-73A4-7880650373D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827031" y="4049934"/>
            <a:ext cx="2286000" cy="140331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lang="en-US" sz="1400" b="0" kern="1200" dirty="0" smtClean="0">
                <a:solidFill>
                  <a:srgbClr val="22272B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56" name="Text Placeholder 36">
            <a:extLst>
              <a:ext uri="{FF2B5EF4-FFF2-40B4-BE49-F238E27FC236}">
                <a16:creationId xmlns:a16="http://schemas.microsoft.com/office/drawing/2014/main" id="{640E18C2-01EA-CD61-489A-6C645CFD647C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7085317" y="4049934"/>
            <a:ext cx="2286000" cy="140331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10"/>
              </a:spcBef>
              <a:defRPr lang="en-US" sz="1400" b="0" kern="1200" dirty="0" smtClean="0">
                <a:solidFill>
                  <a:srgbClr val="22272B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0" indent="0" algn="ctr">
              <a:lnSpc>
                <a:spcPct val="100000"/>
              </a:lnSpc>
              <a:defRPr/>
            </a:lvl2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D98CBD6-EB13-8BBD-1BC7-24BFE750CD21}"/>
              </a:ext>
            </a:extLst>
          </p:cNvPr>
          <p:cNvSpPr/>
          <p:nvPr userDrawn="1"/>
        </p:nvSpPr>
        <p:spPr>
          <a:xfrm>
            <a:off x="3604271" y="2378050"/>
            <a:ext cx="731520" cy="731520"/>
          </a:xfrm>
          <a:prstGeom prst="roundRect">
            <a:avLst>
              <a:gd name="adj" fmla="val 6440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99E9964-E046-F320-F4FE-CA60AAB5A6AE}"/>
              </a:ext>
            </a:extLst>
          </p:cNvPr>
          <p:cNvSpPr/>
          <p:nvPr userDrawn="1"/>
        </p:nvSpPr>
        <p:spPr>
          <a:xfrm>
            <a:off x="7862557" y="2378050"/>
            <a:ext cx="731520" cy="731520"/>
          </a:xfrm>
          <a:prstGeom prst="roundRect">
            <a:avLst>
              <a:gd name="adj" fmla="val 757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0581B90-C6C9-8D21-E24B-32982AEED2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43212" y="2461454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9244E43-F5A7-F06C-0542-BF551B2DDF4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84925" y="2461454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7467CCA-81AC-F77D-69EC-40AA26D20EA0}"/>
              </a:ext>
            </a:extLst>
          </p:cNvPr>
          <p:cNvSpPr/>
          <p:nvPr userDrawn="1"/>
        </p:nvSpPr>
        <p:spPr>
          <a:xfrm>
            <a:off x="1475128" y="4332738"/>
            <a:ext cx="731520" cy="731520"/>
          </a:xfrm>
          <a:prstGeom prst="roundRect">
            <a:avLst>
              <a:gd name="adj" fmla="val 6440"/>
            </a:avLst>
          </a:prstGeom>
          <a:solidFill>
            <a:srgbClr val="00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4E018C9-167C-545B-A9FD-A3F816D2C3F4}"/>
              </a:ext>
            </a:extLst>
          </p:cNvPr>
          <p:cNvSpPr/>
          <p:nvPr userDrawn="1"/>
        </p:nvSpPr>
        <p:spPr>
          <a:xfrm>
            <a:off x="5733414" y="4332738"/>
            <a:ext cx="731520" cy="731520"/>
          </a:xfrm>
          <a:prstGeom prst="roundRect">
            <a:avLst>
              <a:gd name="adj" fmla="val 757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2C39B0C-4377-866B-DD4F-32C2A212904F}"/>
              </a:ext>
            </a:extLst>
          </p:cNvPr>
          <p:cNvSpPr/>
          <p:nvPr userDrawn="1"/>
        </p:nvSpPr>
        <p:spPr>
          <a:xfrm>
            <a:off x="9973264" y="4332738"/>
            <a:ext cx="731520" cy="731520"/>
          </a:xfrm>
          <a:prstGeom prst="roundRect">
            <a:avLst>
              <a:gd name="adj" fmla="val 7576"/>
            </a:avLst>
          </a:prstGeom>
          <a:solidFill>
            <a:srgbClr val="FDB5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IN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580310A-600C-9177-F1E5-CB19745CACB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053919" y="4416142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FB9CFD08-1074-F01B-8F3D-D49C0FF3677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14068" y="4416142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449856C-1215-3F13-F557-88D8100FE7E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555782" y="4416142"/>
            <a:ext cx="570211" cy="5647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57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2DB3A528-7D28-1E75-757B-AB153140F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40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B3A528-7D28-1E75-757B-AB153140F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A87AE7-69F5-A1B0-75B1-ADD2EC8614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69B9DF4-CBBE-A79B-567C-3E66AEC43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950" y="2667000"/>
            <a:ext cx="2364664" cy="381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2000" b="0" i="0" spc="100" baseline="0">
                <a:solidFill>
                  <a:schemeClr val="accent1"/>
                </a:solidFill>
                <a:latin typeface="Roboto Condensed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CONTENT 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961695-40AB-7F3A-C4BF-9029DDE7B640}"/>
              </a:ext>
            </a:extLst>
          </p:cNvPr>
          <p:cNvCxnSpPr>
            <a:cxnSpLocks/>
          </p:cNvCxnSpPr>
          <p:nvPr userDrawn="1"/>
        </p:nvCxnSpPr>
        <p:spPr>
          <a:xfrm>
            <a:off x="762000" y="2171700"/>
            <a:ext cx="10668000" cy="0"/>
          </a:xfrm>
          <a:prstGeom prst="line">
            <a:avLst/>
          </a:prstGeom>
          <a:ln w="28575">
            <a:solidFill>
              <a:schemeClr val="accent5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4B6EF42-F867-EDDD-F1EC-C79CA4CCC4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30412" y="2667000"/>
            <a:ext cx="2364664" cy="381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2000" b="0" i="0" spc="100" baseline="0">
                <a:solidFill>
                  <a:schemeClr val="accent1"/>
                </a:solidFill>
                <a:latin typeface="Roboto Condensed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CONTENT 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E3253B6-1AD9-6E4B-B59A-5DE72D187B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7874" y="2667000"/>
            <a:ext cx="2364664" cy="381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2000" b="0" i="0" spc="100" baseline="0">
                <a:solidFill>
                  <a:schemeClr val="accent1"/>
                </a:solidFill>
                <a:latin typeface="Roboto Condensed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CONTENT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811ECD8-3120-A42A-DE13-F3C0DFD41E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65336" y="2667000"/>
            <a:ext cx="2364664" cy="381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2000" b="0" i="0" spc="100" baseline="0">
                <a:solidFill>
                  <a:schemeClr val="accent1"/>
                </a:solidFill>
                <a:latin typeface="Roboto Condensed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CONTENT TIT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6C31EF-5B2D-64F9-E8FD-D7A89BBE3A9A}"/>
              </a:ext>
            </a:extLst>
          </p:cNvPr>
          <p:cNvSpPr txBox="1"/>
          <p:nvPr userDrawn="1"/>
        </p:nvSpPr>
        <p:spPr>
          <a:xfrm>
            <a:off x="762000" y="1412557"/>
            <a:ext cx="762000" cy="507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3200" b="0" i="0" dirty="0">
                <a:solidFill>
                  <a:schemeClr val="accent1"/>
                </a:solidFill>
                <a:latin typeface="+mj-lt"/>
                <a:ea typeface="Roboto Mono" pitchFamily="2" charset="0"/>
              </a:rPr>
              <a:t>01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F1E7175-EB0A-4F2D-B10D-349BE911B2A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065336" y="3200400"/>
            <a:ext cx="2364664" cy="3164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432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 sz="1400">
                <a:solidFill>
                  <a:srgbClr val="22272B"/>
                </a:solidFill>
              </a:defRPr>
            </a:lvl1pPr>
            <a:lvl2pPr marL="54864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2pPr>
            <a:lvl3pPr marL="82296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219C3DB-5EE9-DA13-03FC-3665942760B9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97874" y="3200400"/>
            <a:ext cx="2364664" cy="3164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432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 sz="1400">
                <a:solidFill>
                  <a:srgbClr val="22272B"/>
                </a:solidFill>
              </a:defRPr>
            </a:lvl1pPr>
            <a:lvl2pPr marL="54864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2pPr>
            <a:lvl3pPr marL="82296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C1F43C2-1533-6384-E26C-4945519C925A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530412" y="3200400"/>
            <a:ext cx="2364664" cy="3164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432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 sz="1400">
                <a:solidFill>
                  <a:srgbClr val="22272B"/>
                </a:solidFill>
              </a:defRPr>
            </a:lvl1pPr>
            <a:lvl2pPr marL="54864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2pPr>
            <a:lvl3pPr marL="82296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B848D45C-86DD-C7D6-8F82-280B5C22E0E9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762950" y="3200399"/>
            <a:ext cx="2364664" cy="3164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432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 sz="1400">
                <a:solidFill>
                  <a:srgbClr val="22272B"/>
                </a:solidFill>
              </a:defRPr>
            </a:lvl1pPr>
            <a:lvl2pPr marL="54864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2pPr>
            <a:lvl3pPr marL="822960" indent="-27432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defRPr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810454-4AD5-4B39-1A92-498402017779}"/>
              </a:ext>
            </a:extLst>
          </p:cNvPr>
          <p:cNvSpPr txBox="1"/>
          <p:nvPr/>
        </p:nvSpPr>
        <p:spPr>
          <a:xfrm>
            <a:off x="3530412" y="1412557"/>
            <a:ext cx="762000" cy="507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3200" b="0" i="0" dirty="0">
                <a:solidFill>
                  <a:schemeClr val="accent1"/>
                </a:solidFill>
                <a:latin typeface="+mj-lt"/>
                <a:ea typeface="Roboto Mono" pitchFamily="2" charset="0"/>
              </a:rPr>
              <a:t>0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8E82D84-1C1E-E007-AEC6-3CD91C291203}"/>
              </a:ext>
            </a:extLst>
          </p:cNvPr>
          <p:cNvSpPr txBox="1"/>
          <p:nvPr/>
        </p:nvSpPr>
        <p:spPr>
          <a:xfrm>
            <a:off x="6297874" y="1412557"/>
            <a:ext cx="762000" cy="507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3200" b="0" i="0" dirty="0">
                <a:solidFill>
                  <a:schemeClr val="accent1"/>
                </a:solidFill>
                <a:latin typeface="+mj-lt"/>
                <a:ea typeface="Roboto Mono" pitchFamily="2" charset="0"/>
              </a:rPr>
              <a:t>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664272B-5725-78A8-7D5E-B90791CD13A7}"/>
              </a:ext>
            </a:extLst>
          </p:cNvPr>
          <p:cNvSpPr txBox="1"/>
          <p:nvPr/>
        </p:nvSpPr>
        <p:spPr>
          <a:xfrm>
            <a:off x="9065336" y="1412557"/>
            <a:ext cx="762000" cy="507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3200" b="0" i="0" dirty="0">
                <a:solidFill>
                  <a:schemeClr val="accent1"/>
                </a:solidFill>
                <a:latin typeface="+mj-lt"/>
                <a:ea typeface="Roboto Mono" pitchFamily="2" charset="0"/>
              </a:rPr>
              <a:t>04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58CB869-89ED-8CFA-9242-BAC778771B63}"/>
              </a:ext>
            </a:extLst>
          </p:cNvPr>
          <p:cNvCxnSpPr>
            <a:cxnSpLocks/>
          </p:cNvCxnSpPr>
          <p:nvPr userDrawn="1"/>
        </p:nvCxnSpPr>
        <p:spPr>
          <a:xfrm>
            <a:off x="762000" y="2171700"/>
            <a:ext cx="10668000" cy="0"/>
          </a:xfrm>
          <a:prstGeom prst="line">
            <a:avLst/>
          </a:prstGeom>
          <a:ln w="28575">
            <a:solidFill>
              <a:schemeClr val="accent5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0E13FD1-AECD-8FED-A892-B34A2FBC67F9}"/>
              </a:ext>
            </a:extLst>
          </p:cNvPr>
          <p:cNvSpPr/>
          <p:nvPr userDrawn="1"/>
        </p:nvSpPr>
        <p:spPr>
          <a:xfrm rot="10800000" flipV="1">
            <a:off x="762000" y="2057400"/>
            <a:ext cx="228600" cy="228600"/>
          </a:xfrm>
          <a:prstGeom prst="roundRect">
            <a:avLst>
              <a:gd name="adj" fmla="val 13031"/>
            </a:avLst>
          </a:prstGeom>
          <a:solidFill>
            <a:schemeClr val="accent1"/>
          </a:solidFill>
          <a:ln w="1016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110000"/>
              </a:lnSpc>
            </a:pPr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EB56BFE-99E6-D448-1F8B-E299EB8CB474}"/>
              </a:ext>
            </a:extLst>
          </p:cNvPr>
          <p:cNvSpPr/>
          <p:nvPr userDrawn="1"/>
        </p:nvSpPr>
        <p:spPr>
          <a:xfrm rot="10800000" flipV="1">
            <a:off x="3529462" y="2057400"/>
            <a:ext cx="228600" cy="228600"/>
          </a:xfrm>
          <a:prstGeom prst="roundRect">
            <a:avLst>
              <a:gd name="adj" fmla="val 13031"/>
            </a:avLst>
          </a:prstGeom>
          <a:solidFill>
            <a:schemeClr val="accent1"/>
          </a:solidFill>
          <a:ln w="1016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110000"/>
              </a:lnSpc>
            </a:pPr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DDD6BF2-24D7-67EC-66B0-471E19BD5859}"/>
              </a:ext>
            </a:extLst>
          </p:cNvPr>
          <p:cNvSpPr/>
          <p:nvPr userDrawn="1"/>
        </p:nvSpPr>
        <p:spPr>
          <a:xfrm rot="10800000" flipV="1">
            <a:off x="6296923" y="2057400"/>
            <a:ext cx="228600" cy="228600"/>
          </a:xfrm>
          <a:prstGeom prst="roundRect">
            <a:avLst>
              <a:gd name="adj" fmla="val 13031"/>
            </a:avLst>
          </a:prstGeom>
          <a:solidFill>
            <a:schemeClr val="accent1"/>
          </a:solidFill>
          <a:ln w="1016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110000"/>
              </a:lnSpc>
            </a:pPr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882B12-FC4F-981E-0447-DC61DBA1F78C}"/>
              </a:ext>
            </a:extLst>
          </p:cNvPr>
          <p:cNvSpPr/>
          <p:nvPr userDrawn="1"/>
        </p:nvSpPr>
        <p:spPr>
          <a:xfrm rot="10800000" flipV="1">
            <a:off x="9064384" y="2057400"/>
            <a:ext cx="228600" cy="228600"/>
          </a:xfrm>
          <a:prstGeom prst="roundRect">
            <a:avLst>
              <a:gd name="adj" fmla="val 13031"/>
            </a:avLst>
          </a:prstGeom>
          <a:solidFill>
            <a:schemeClr val="accent1"/>
          </a:solidFill>
          <a:ln w="1016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11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934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037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Laptop Screensho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3EDD05BA-B765-6F9F-CC14-C5148B4A3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6425" r="18897" b="3730"/>
          <a:stretch/>
        </p:blipFill>
        <p:spPr>
          <a:xfrm>
            <a:off x="2797929" y="1076960"/>
            <a:ext cx="9381371" cy="543014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C78E78-A07D-2CD0-80EA-DA116033461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27610" y="315965"/>
            <a:ext cx="10378577" cy="1263146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Heading in sentence case with screenshot imag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F09B7D0-B1C6-0667-836A-53B01BF42461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N°›</a:t>
            </a:fld>
            <a:endParaRPr lang="en-US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TextBox 3">
            <a:hlinkClick r:id="rId4"/>
            <a:extLst>
              <a:ext uri="{FF2B5EF4-FFF2-40B4-BE49-F238E27FC236}">
                <a16:creationId xmlns:a16="http://schemas.microsoft.com/office/drawing/2014/main" id="{BE8A3CDE-55EB-EFD1-2E62-FEA04AD05DBB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pic>
        <p:nvPicPr>
          <p:cNvPr id="5" name="Picture 4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A2E65294-E7C3-B95E-EE5A-F1CC9DC9EE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1292884" y="1286257"/>
            <a:ext cx="3429000" cy="856487"/>
          </a:xfrm>
          <a:custGeom>
            <a:avLst/>
            <a:gdLst>
              <a:gd name="connsiteX0" fmla="*/ 0 w 3429000"/>
              <a:gd name="connsiteY0" fmla="*/ 0 h 856487"/>
              <a:gd name="connsiteX1" fmla="*/ 3429000 w 3429000"/>
              <a:gd name="connsiteY1" fmla="*/ 0 h 856487"/>
              <a:gd name="connsiteX2" fmla="*/ 3429000 w 3429000"/>
              <a:gd name="connsiteY2" fmla="*/ 856487 h 856487"/>
              <a:gd name="connsiteX3" fmla="*/ 0 w 3429000"/>
              <a:gd name="connsiteY3" fmla="*/ 856487 h 856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856487">
                <a:moveTo>
                  <a:pt x="0" y="0"/>
                </a:moveTo>
                <a:lnTo>
                  <a:pt x="3429000" y="0"/>
                </a:lnTo>
                <a:lnTo>
                  <a:pt x="3429000" y="856487"/>
                </a:lnTo>
                <a:lnTo>
                  <a:pt x="0" y="856487"/>
                </a:lnTo>
                <a:close/>
              </a:path>
            </a:pathLst>
          </a:custGeom>
        </p:spPr>
      </p:pic>
      <p:pic>
        <p:nvPicPr>
          <p:cNvPr id="7" name="Picture 6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A559F3B0-79CE-9BC3-BF6F-0F4568077B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6200000">
            <a:off x="-1292884" y="4715256"/>
            <a:ext cx="3429000" cy="856487"/>
          </a:xfrm>
          <a:custGeom>
            <a:avLst/>
            <a:gdLst>
              <a:gd name="connsiteX0" fmla="*/ 0 w 3429000"/>
              <a:gd name="connsiteY0" fmla="*/ 0 h 856487"/>
              <a:gd name="connsiteX1" fmla="*/ 3429000 w 3429000"/>
              <a:gd name="connsiteY1" fmla="*/ 0 h 856487"/>
              <a:gd name="connsiteX2" fmla="*/ 3429000 w 3429000"/>
              <a:gd name="connsiteY2" fmla="*/ 856487 h 856487"/>
              <a:gd name="connsiteX3" fmla="*/ 0 w 3429000"/>
              <a:gd name="connsiteY3" fmla="*/ 856487 h 856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856487">
                <a:moveTo>
                  <a:pt x="0" y="0"/>
                </a:moveTo>
                <a:lnTo>
                  <a:pt x="3429000" y="0"/>
                </a:lnTo>
                <a:lnTo>
                  <a:pt x="3429000" y="856487"/>
                </a:lnTo>
                <a:lnTo>
                  <a:pt x="0" y="856487"/>
                </a:lnTo>
                <a:close/>
              </a:path>
            </a:pathLst>
          </a:cu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12F3423-4DFB-5069-0D80-70B9ED81C44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027611" y="1711151"/>
            <a:ext cx="3962400" cy="36968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>
                <a:solidFill>
                  <a:srgbClr val="22272B"/>
                </a:solidFill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Picture Placeholder 38">
            <a:extLst>
              <a:ext uri="{FF2B5EF4-FFF2-40B4-BE49-F238E27FC236}">
                <a16:creationId xmlns:a16="http://schemas.microsoft.com/office/drawing/2014/main" id="{1012F0E4-99CD-0E8F-A8B2-AC256EB4F12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730316" y="1781967"/>
            <a:ext cx="5693628" cy="3331005"/>
          </a:xfrm>
          <a:prstGeom prst="round2SameRect">
            <a:avLst>
              <a:gd name="adj1" fmla="val 5678"/>
              <a:gd name="adj2" fmla="val 0"/>
            </a:avLst>
          </a:prstGeom>
          <a:solidFill>
            <a:srgbClr val="F3ECE3"/>
          </a:solidFill>
        </p:spPr>
        <p:txBody>
          <a:bodyPr/>
          <a:lstStyle>
            <a:lvl1pPr>
              <a:lnSpc>
                <a:spcPct val="110000"/>
              </a:lnSpc>
              <a:defRPr/>
            </a:lvl1pPr>
          </a:lstStyle>
          <a:p>
            <a:r>
              <a:rPr lang="en-US" dirty="0"/>
              <a:t>Click icon to add screenshot image</a:t>
            </a:r>
          </a:p>
        </p:txBody>
      </p:sp>
    </p:spTree>
    <p:extLst>
      <p:ext uri="{BB962C8B-B14F-4D97-AF65-F5344CB8AC3E}">
        <p14:creationId xmlns:p14="http://schemas.microsoft.com/office/powerpoint/2010/main" val="368915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_Geo_2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CCB20358-AE38-8ADD-D201-0E4804F01C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1292884" y="1286257"/>
            <a:ext cx="3429000" cy="856487"/>
          </a:xfrm>
          <a:custGeom>
            <a:avLst/>
            <a:gdLst>
              <a:gd name="connsiteX0" fmla="*/ 0 w 3429000"/>
              <a:gd name="connsiteY0" fmla="*/ 0 h 856487"/>
              <a:gd name="connsiteX1" fmla="*/ 3429000 w 3429000"/>
              <a:gd name="connsiteY1" fmla="*/ 0 h 856487"/>
              <a:gd name="connsiteX2" fmla="*/ 3429000 w 3429000"/>
              <a:gd name="connsiteY2" fmla="*/ 856487 h 856487"/>
              <a:gd name="connsiteX3" fmla="*/ 0 w 3429000"/>
              <a:gd name="connsiteY3" fmla="*/ 856487 h 856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856487">
                <a:moveTo>
                  <a:pt x="0" y="0"/>
                </a:moveTo>
                <a:lnTo>
                  <a:pt x="3429000" y="0"/>
                </a:lnTo>
                <a:lnTo>
                  <a:pt x="3429000" y="856487"/>
                </a:lnTo>
                <a:lnTo>
                  <a:pt x="0" y="856487"/>
                </a:lnTo>
                <a:close/>
              </a:path>
            </a:pathLst>
          </a:custGeom>
        </p:spPr>
      </p:pic>
      <p:pic>
        <p:nvPicPr>
          <p:cNvPr id="3" name="Picture 2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D9C4C677-7FBC-46AD-2AE2-DB64601E97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6200000">
            <a:off x="-1292884" y="4715256"/>
            <a:ext cx="3429000" cy="856487"/>
          </a:xfrm>
          <a:custGeom>
            <a:avLst/>
            <a:gdLst>
              <a:gd name="connsiteX0" fmla="*/ 0 w 3429000"/>
              <a:gd name="connsiteY0" fmla="*/ 0 h 856487"/>
              <a:gd name="connsiteX1" fmla="*/ 3429000 w 3429000"/>
              <a:gd name="connsiteY1" fmla="*/ 0 h 856487"/>
              <a:gd name="connsiteX2" fmla="*/ 3429000 w 3429000"/>
              <a:gd name="connsiteY2" fmla="*/ 856487 h 856487"/>
              <a:gd name="connsiteX3" fmla="*/ 0 w 3429000"/>
              <a:gd name="connsiteY3" fmla="*/ 856487 h 856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856487">
                <a:moveTo>
                  <a:pt x="0" y="0"/>
                </a:moveTo>
                <a:lnTo>
                  <a:pt x="3429000" y="0"/>
                </a:lnTo>
                <a:lnTo>
                  <a:pt x="3429000" y="856487"/>
                </a:lnTo>
                <a:lnTo>
                  <a:pt x="0" y="856487"/>
                </a:lnTo>
                <a:close/>
              </a:path>
            </a:pathLst>
          </a:cu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0C142F19-D0E8-AFC5-21CB-22D2F4A895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5794" y="315965"/>
            <a:ext cx="10164205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25970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_Geo_2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A801040-73ED-E132-651C-15D91BD95754}"/>
              </a:ext>
            </a:extLst>
          </p:cNvPr>
          <p:cNvGrpSpPr/>
          <p:nvPr userDrawn="1"/>
        </p:nvGrpSpPr>
        <p:grpSpPr>
          <a:xfrm>
            <a:off x="-6628" y="1"/>
            <a:ext cx="856487" cy="6857999"/>
            <a:chOff x="-6628" y="1"/>
            <a:chExt cx="856487" cy="6857999"/>
          </a:xfrm>
        </p:grpSpPr>
        <p:pic>
          <p:nvPicPr>
            <p:cNvPr id="2" name="Picture 1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CCB20358-AE38-8ADD-D201-0E4804F01C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-1292884" y="1286257"/>
              <a:ext cx="3429000" cy="856487"/>
            </a:xfrm>
            <a:custGeom>
              <a:avLst/>
              <a:gdLst>
                <a:gd name="connsiteX0" fmla="*/ 0 w 3429000"/>
                <a:gd name="connsiteY0" fmla="*/ 0 h 856487"/>
                <a:gd name="connsiteX1" fmla="*/ 3429000 w 3429000"/>
                <a:gd name="connsiteY1" fmla="*/ 0 h 856487"/>
                <a:gd name="connsiteX2" fmla="*/ 3429000 w 3429000"/>
                <a:gd name="connsiteY2" fmla="*/ 856487 h 856487"/>
                <a:gd name="connsiteX3" fmla="*/ 0 w 3429000"/>
                <a:gd name="connsiteY3" fmla="*/ 856487 h 85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0" h="856487">
                  <a:moveTo>
                    <a:pt x="0" y="0"/>
                  </a:moveTo>
                  <a:lnTo>
                    <a:pt x="3429000" y="0"/>
                  </a:lnTo>
                  <a:lnTo>
                    <a:pt x="3429000" y="856487"/>
                  </a:lnTo>
                  <a:lnTo>
                    <a:pt x="0" y="856487"/>
                  </a:lnTo>
                  <a:close/>
                </a:path>
              </a:pathLst>
            </a:custGeom>
          </p:spPr>
        </p:pic>
        <p:pic>
          <p:nvPicPr>
            <p:cNvPr id="3" name="Picture 2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D9C4C677-7FBC-46AD-2AE2-DB64601E97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6200000">
              <a:off x="-1292884" y="4715256"/>
              <a:ext cx="3429000" cy="856487"/>
            </a:xfrm>
            <a:custGeom>
              <a:avLst/>
              <a:gdLst>
                <a:gd name="connsiteX0" fmla="*/ 0 w 3429000"/>
                <a:gd name="connsiteY0" fmla="*/ 0 h 856487"/>
                <a:gd name="connsiteX1" fmla="*/ 3429000 w 3429000"/>
                <a:gd name="connsiteY1" fmla="*/ 0 h 856487"/>
                <a:gd name="connsiteX2" fmla="*/ 3429000 w 3429000"/>
                <a:gd name="connsiteY2" fmla="*/ 856487 h 856487"/>
                <a:gd name="connsiteX3" fmla="*/ 0 w 3429000"/>
                <a:gd name="connsiteY3" fmla="*/ 856487 h 85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0" h="856487">
                  <a:moveTo>
                    <a:pt x="0" y="0"/>
                  </a:moveTo>
                  <a:lnTo>
                    <a:pt x="3429000" y="0"/>
                  </a:lnTo>
                  <a:lnTo>
                    <a:pt x="3429000" y="856487"/>
                  </a:lnTo>
                  <a:lnTo>
                    <a:pt x="0" y="856487"/>
                  </a:lnTo>
                  <a:close/>
                </a:path>
              </a:pathLst>
            </a:custGeom>
          </p:spPr>
        </p:pic>
      </p:grp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E9F526E-D99A-1FAB-523B-687A1C3781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5238" y="1488081"/>
            <a:ext cx="3108325" cy="708025"/>
          </a:xfrm>
        </p:spPr>
        <p:txBody>
          <a:bodyPr anchor="ctr"/>
          <a:lstStyle>
            <a:lvl1pPr>
              <a:defRPr sz="280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  <a:lvl2pPr>
              <a:defRPr sz="3200"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A53C8793-D89B-BC0F-C521-C13646CE44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8700" y="2195589"/>
            <a:ext cx="3108325" cy="3912118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6ACC3AD6-5256-546C-2D2E-37B6A79310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65238" y="2195589"/>
            <a:ext cx="3109912" cy="3912118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C142F19-D0E8-AFC5-21CB-22D2F4A895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5794" y="315965"/>
            <a:ext cx="10164205" cy="598436"/>
          </a:xfrm>
        </p:spPr>
        <p:txBody>
          <a:bodyPr vert="horz"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4F43F8D9-2EA2-58F5-CE9C-7A1EB45EDD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20088" y="2195588"/>
            <a:ext cx="3108325" cy="388195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21010019-FA01-93B6-6C95-7F89EA1B27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7973" y="1487563"/>
            <a:ext cx="3108325" cy="708025"/>
          </a:xfrm>
        </p:spPr>
        <p:txBody>
          <a:bodyPr anchor="ctr"/>
          <a:lstStyle>
            <a:lvl1pPr>
              <a:defRPr sz="280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  <a:lvl2pPr>
              <a:defRPr sz="3200"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4D0B551E-D587-A182-66E2-BCC668B335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18501" y="1487562"/>
            <a:ext cx="3108325" cy="708025"/>
          </a:xfrm>
        </p:spPr>
        <p:txBody>
          <a:bodyPr anchor="ctr"/>
          <a:lstStyle>
            <a:lvl1pPr>
              <a:defRPr sz="280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  <a:lvl2pPr>
              <a:defRPr sz="3200"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</a:lstStyle>
          <a:p>
            <a:pPr lvl="0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65376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-Summary_4 points_B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76135548-B2FC-3670-6BEC-9C4487364B93}"/>
              </a:ext>
            </a:extLst>
          </p:cNvPr>
          <p:cNvSpPr/>
          <p:nvPr userDrawn="1"/>
        </p:nvSpPr>
        <p:spPr>
          <a:xfrm>
            <a:off x="762001" y="1365649"/>
            <a:ext cx="3316512" cy="5005543"/>
          </a:xfrm>
          <a:prstGeom prst="roundRect">
            <a:avLst>
              <a:gd name="adj" fmla="val 202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401898-539F-3D38-9B5E-4EE6F24F7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79772" y="1366227"/>
            <a:ext cx="6350227" cy="870973"/>
          </a:xfrm>
        </p:spPr>
        <p:txBody>
          <a:bodyPr anchor="ctr"/>
          <a:lstStyle>
            <a:lvl1pPr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023CAD-317D-8438-26C4-0BD52C66EA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79772" y="2744146"/>
            <a:ext cx="6350227" cy="870973"/>
          </a:xfrm>
        </p:spPr>
        <p:txBody>
          <a:bodyPr anchor="ctr"/>
          <a:lstStyle>
            <a:lvl1pPr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0566E7E-0185-1834-B059-84122DB850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79772" y="4122065"/>
            <a:ext cx="6350227" cy="870973"/>
          </a:xfrm>
        </p:spPr>
        <p:txBody>
          <a:bodyPr anchor="ctr"/>
          <a:lstStyle>
            <a:lvl1pPr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699769C-C2EF-44F7-3141-C339F1E5D7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79772" y="5499983"/>
            <a:ext cx="6350227" cy="870973"/>
          </a:xfrm>
        </p:spPr>
        <p:txBody>
          <a:bodyPr anchor="ctr"/>
          <a:lstStyle>
            <a:lvl1pPr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899E58-2BEB-29FC-9EE4-0A8C78A41D8D}"/>
              </a:ext>
            </a:extLst>
          </p:cNvPr>
          <p:cNvGrpSpPr/>
          <p:nvPr userDrawn="1"/>
        </p:nvGrpSpPr>
        <p:grpSpPr>
          <a:xfrm>
            <a:off x="762001" y="5256762"/>
            <a:ext cx="3310634" cy="1114430"/>
            <a:chOff x="762001" y="5256762"/>
            <a:chExt cx="3310634" cy="111443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B2B0D9A-15A4-7606-D9FA-E4BD93CF0910}"/>
                </a:ext>
              </a:extLst>
            </p:cNvPr>
            <p:cNvGrpSpPr/>
            <p:nvPr userDrawn="1"/>
          </p:nvGrpSpPr>
          <p:grpSpPr>
            <a:xfrm flipH="1">
              <a:off x="762001" y="5256762"/>
              <a:ext cx="1104902" cy="1114430"/>
              <a:chOff x="1866901" y="5255734"/>
              <a:chExt cx="1104902" cy="1114430"/>
            </a:xfrm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825DCE8A-399A-6D5D-562F-0F52BC40FFCA}"/>
                  </a:ext>
                </a:extLst>
              </p:cNvPr>
              <p:cNvSpPr/>
              <p:nvPr/>
            </p:nvSpPr>
            <p:spPr>
              <a:xfrm rot="5400000" flipV="1">
                <a:off x="1866901" y="5265259"/>
                <a:ext cx="1114425" cy="1095379"/>
              </a:xfrm>
              <a:custGeom>
                <a:avLst/>
                <a:gdLst>
                  <a:gd name="connsiteX0" fmla="*/ 116 w 1114425"/>
                  <a:gd name="connsiteY0" fmla="*/ 1 h 1095379"/>
                  <a:gd name="connsiteX1" fmla="*/ 1114541 w 1114425"/>
                  <a:gd name="connsiteY1" fmla="*/ 1 h 1095379"/>
                  <a:gd name="connsiteX2" fmla="*/ 1114541 w 1114425"/>
                  <a:gd name="connsiteY2" fmla="*/ 1095381 h 1095379"/>
                  <a:gd name="connsiteX3" fmla="*/ 116 w 1114425"/>
                  <a:gd name="connsiteY3" fmla="*/ 1095381 h 1095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425" h="1095379">
                    <a:moveTo>
                      <a:pt x="116" y="1"/>
                    </a:moveTo>
                    <a:lnTo>
                      <a:pt x="1114541" y="1"/>
                    </a:lnTo>
                    <a:lnTo>
                      <a:pt x="1114541" y="1095381"/>
                    </a:lnTo>
                    <a:lnTo>
                      <a:pt x="116" y="1095381"/>
                    </a:lnTo>
                    <a:close/>
                  </a:path>
                </a:pathLst>
              </a:custGeom>
              <a:solidFill>
                <a:srgbClr val="00A0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84FD18D-651B-492F-327F-22E3C5CD135D}"/>
                  </a:ext>
                </a:extLst>
              </p:cNvPr>
              <p:cNvSpPr/>
              <p:nvPr/>
            </p:nvSpPr>
            <p:spPr>
              <a:xfrm rot="10800000" flipV="1">
                <a:off x="1866901" y="5255734"/>
                <a:ext cx="1104900" cy="1114430"/>
              </a:xfrm>
              <a:custGeom>
                <a:avLst/>
                <a:gdLst>
                  <a:gd name="connsiteX0" fmla="*/ 116 w 1104900"/>
                  <a:gd name="connsiteY0" fmla="*/ 1114430 h 1114430"/>
                  <a:gd name="connsiteX1" fmla="*/ 116 w 1104900"/>
                  <a:gd name="connsiteY1" fmla="*/ 0 h 1114430"/>
                  <a:gd name="connsiteX2" fmla="*/ 1105016 w 1104900"/>
                  <a:gd name="connsiteY2" fmla="*/ 1114430 h 1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4900" h="1114430">
                    <a:moveTo>
                      <a:pt x="116" y="1114430"/>
                    </a:moveTo>
                    <a:lnTo>
                      <a:pt x="116" y="0"/>
                    </a:lnTo>
                    <a:lnTo>
                      <a:pt x="1105016" y="1114430"/>
                    </a:lnTo>
                    <a:close/>
                  </a:path>
                </a:pathLst>
              </a:custGeom>
              <a:solidFill>
                <a:srgbClr val="4A4F5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3A9EA7F9-C9D5-5975-FDD9-0C1303C0FF99}"/>
                </a:ext>
              </a:extLst>
            </p:cNvPr>
            <p:cNvGrpSpPr/>
            <p:nvPr userDrawn="1"/>
          </p:nvGrpSpPr>
          <p:grpSpPr>
            <a:xfrm>
              <a:off x="1857378" y="5256762"/>
              <a:ext cx="1104981" cy="1114430"/>
              <a:chOff x="762001" y="5255734"/>
              <a:chExt cx="1114425" cy="1123955"/>
            </a:xfrm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DD86EB26-8D14-C00E-E003-D59B0805B129}"/>
                  </a:ext>
                </a:extLst>
              </p:cNvPr>
              <p:cNvSpPr/>
              <p:nvPr/>
            </p:nvSpPr>
            <p:spPr>
              <a:xfrm flipV="1">
                <a:off x="762001" y="5265259"/>
                <a:ext cx="1114425" cy="1114430"/>
              </a:xfrm>
              <a:custGeom>
                <a:avLst/>
                <a:gdLst>
                  <a:gd name="connsiteX0" fmla="*/ 0 w 1114425"/>
                  <a:gd name="connsiteY0" fmla="*/ 1 h 1114430"/>
                  <a:gd name="connsiteX1" fmla="*/ 1114425 w 1114425"/>
                  <a:gd name="connsiteY1" fmla="*/ 1 h 1114430"/>
                  <a:gd name="connsiteX2" fmla="*/ 1114425 w 1114425"/>
                  <a:gd name="connsiteY2" fmla="*/ 1114431 h 1114430"/>
                  <a:gd name="connsiteX3" fmla="*/ 0 w 1114425"/>
                  <a:gd name="connsiteY3" fmla="*/ 1114431 h 1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425" h="1114430">
                    <a:moveTo>
                      <a:pt x="0" y="1"/>
                    </a:moveTo>
                    <a:lnTo>
                      <a:pt x="1114425" y="1"/>
                    </a:lnTo>
                    <a:lnTo>
                      <a:pt x="1114425" y="1114431"/>
                    </a:lnTo>
                    <a:lnTo>
                      <a:pt x="0" y="1114431"/>
                    </a:lnTo>
                    <a:close/>
                  </a:path>
                </a:pathLst>
              </a:custGeom>
              <a:solidFill>
                <a:srgbClr val="00A0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EE59070-347B-CD1F-D4C3-646E8E556EBC}"/>
                  </a:ext>
                </a:extLst>
              </p:cNvPr>
              <p:cNvSpPr/>
              <p:nvPr/>
            </p:nvSpPr>
            <p:spPr>
              <a:xfrm flipV="1">
                <a:off x="762001" y="5255734"/>
                <a:ext cx="1114425" cy="1123955"/>
              </a:xfrm>
              <a:custGeom>
                <a:avLst/>
                <a:gdLst>
                  <a:gd name="connsiteX0" fmla="*/ 0 w 1114425"/>
                  <a:gd name="connsiteY0" fmla="*/ 1123955 h 1123955"/>
                  <a:gd name="connsiteX1" fmla="*/ 1114425 w 1114425"/>
                  <a:gd name="connsiteY1" fmla="*/ 0 h 1123955"/>
                  <a:gd name="connsiteX2" fmla="*/ 1114425 w 1114425"/>
                  <a:gd name="connsiteY2" fmla="*/ 1123955 h 1123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4425" h="1123955">
                    <a:moveTo>
                      <a:pt x="0" y="1123955"/>
                    </a:moveTo>
                    <a:lnTo>
                      <a:pt x="1114425" y="0"/>
                    </a:lnTo>
                    <a:lnTo>
                      <a:pt x="1114425" y="1123955"/>
                    </a:lnTo>
                    <a:close/>
                  </a:path>
                </a:pathLst>
              </a:custGeom>
              <a:solidFill>
                <a:srgbClr val="4A4F5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F42A8F2-64D7-8C5D-6FF5-168E79B03469}"/>
                  </a:ext>
                </a:extLst>
              </p:cNvPr>
              <p:cNvSpPr/>
              <p:nvPr/>
            </p:nvSpPr>
            <p:spPr>
              <a:xfrm flipV="1">
                <a:off x="762001" y="5265259"/>
                <a:ext cx="1114425" cy="1114430"/>
              </a:xfrm>
              <a:custGeom>
                <a:avLst/>
                <a:gdLst>
                  <a:gd name="connsiteX0" fmla="*/ 0 w 1114425"/>
                  <a:gd name="connsiteY0" fmla="*/ 1114431 h 1114430"/>
                  <a:gd name="connsiteX1" fmla="*/ 1114425 w 1114425"/>
                  <a:gd name="connsiteY1" fmla="*/ 1 h 1114430"/>
                  <a:gd name="connsiteX2" fmla="*/ 0 w 1114425"/>
                  <a:gd name="connsiteY2" fmla="*/ 1114431 h 1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4425" h="1114430">
                    <a:moveTo>
                      <a:pt x="0" y="1114431"/>
                    </a:moveTo>
                    <a:cubicBezTo>
                      <a:pt x="48263" y="404993"/>
                      <a:pt x="605995" y="27334"/>
                      <a:pt x="1114425" y="1"/>
                    </a:cubicBezTo>
                    <a:cubicBezTo>
                      <a:pt x="1029872" y="850257"/>
                      <a:pt x="267390" y="1104954"/>
                      <a:pt x="0" y="1114431"/>
                    </a:cubicBezTo>
                    <a:close/>
                  </a:path>
                </a:pathLst>
              </a:custGeom>
              <a:solidFill>
                <a:srgbClr val="B9ED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D8FD127-F5C2-F445-9EF0-FBE4018BE589}"/>
                </a:ext>
              </a:extLst>
            </p:cNvPr>
            <p:cNvSpPr/>
            <p:nvPr userDrawn="1"/>
          </p:nvSpPr>
          <p:spPr>
            <a:xfrm>
              <a:off x="3339437" y="5772520"/>
              <a:ext cx="733198" cy="59843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C8FD598-3CAD-7F5E-646E-FA302263E67F}"/>
                </a:ext>
              </a:extLst>
            </p:cNvPr>
            <p:cNvSpPr>
              <a:spLocks/>
            </p:cNvSpPr>
            <p:nvPr userDrawn="1"/>
          </p:nvSpPr>
          <p:spPr>
            <a:xfrm rot="5400000" flipH="1">
              <a:off x="2952836" y="5256765"/>
              <a:ext cx="1114425" cy="1114430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B9ED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FD56AC16-51CB-BD06-01FA-6282283462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4022" y="1623596"/>
            <a:ext cx="2886642" cy="3454431"/>
          </a:xfrm>
          <a:noFill/>
        </p:spPr>
        <p:txBody>
          <a:bodyPr lIns="182880" tIns="91440" rIns="182880" bIns="91440" anchor="t"/>
          <a:lstStyle>
            <a:lvl1pPr algn="l">
              <a:lnSpc>
                <a:spcPct val="11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21A3AAA-3B89-2D62-23BE-67CAD61FFD12}"/>
              </a:ext>
            </a:extLst>
          </p:cNvPr>
          <p:cNvSpPr/>
          <p:nvPr userDrawn="1"/>
        </p:nvSpPr>
        <p:spPr>
          <a:xfrm>
            <a:off x="4279191" y="5636420"/>
            <a:ext cx="598487" cy="598487"/>
          </a:xfrm>
          <a:prstGeom prst="roundRect">
            <a:avLst>
              <a:gd name="adj" fmla="val 6681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7A27C8D2-F46A-F003-D4DA-74485072C5C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321174" y="5680182"/>
            <a:ext cx="515939" cy="51096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69E0218-6DF0-2689-3D2F-FFD9F9007D66}"/>
              </a:ext>
            </a:extLst>
          </p:cNvPr>
          <p:cNvSpPr/>
          <p:nvPr userDrawn="1"/>
        </p:nvSpPr>
        <p:spPr>
          <a:xfrm>
            <a:off x="4279898" y="4257876"/>
            <a:ext cx="598487" cy="598487"/>
          </a:xfrm>
          <a:prstGeom prst="roundRect">
            <a:avLst>
              <a:gd name="adj" fmla="val 6681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502DA5E-D7A2-EDA0-6D3A-836EED24FFD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321174" y="4302232"/>
            <a:ext cx="515939" cy="51096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ICON</a:t>
            </a:r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5D1E5AB-ADDD-6D5B-E9F7-C295A72EE186}"/>
              </a:ext>
            </a:extLst>
          </p:cNvPr>
          <p:cNvSpPr/>
          <p:nvPr userDrawn="1"/>
        </p:nvSpPr>
        <p:spPr>
          <a:xfrm>
            <a:off x="4279899" y="2879926"/>
            <a:ext cx="598487" cy="598487"/>
          </a:xfrm>
          <a:prstGeom prst="roundRect">
            <a:avLst>
              <a:gd name="adj" fmla="val 6681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CFF518E9-3A90-6DB5-A8D1-07896004D61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21174" y="2924282"/>
            <a:ext cx="515939" cy="51096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9CF0FDC-DFD3-E248-0181-1A5DE39CE0FF}"/>
              </a:ext>
            </a:extLst>
          </p:cNvPr>
          <p:cNvSpPr/>
          <p:nvPr userDrawn="1"/>
        </p:nvSpPr>
        <p:spPr>
          <a:xfrm>
            <a:off x="4279899" y="1501976"/>
            <a:ext cx="598487" cy="598487"/>
          </a:xfrm>
          <a:prstGeom prst="roundRect">
            <a:avLst>
              <a:gd name="adj" fmla="val 6681"/>
            </a:avLst>
          </a:prstGeom>
          <a:solidFill>
            <a:srgbClr val="00A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14B445B5-CCCA-8D6B-0764-8B4DE26AFC9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1173" y="1545738"/>
            <a:ext cx="515939" cy="51096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10000"/>
              </a:lnSpc>
              <a:spcBef>
                <a:spcPts val="110"/>
              </a:spcBef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IC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3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-Summary_4 points_B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6135548-B2FC-3670-6BEC-9C4487364B93}"/>
              </a:ext>
            </a:extLst>
          </p:cNvPr>
          <p:cNvSpPr/>
          <p:nvPr userDrawn="1"/>
        </p:nvSpPr>
        <p:spPr>
          <a:xfrm>
            <a:off x="0" y="1421346"/>
            <a:ext cx="12192000" cy="1499654"/>
          </a:xfrm>
          <a:custGeom>
            <a:avLst/>
            <a:gdLst>
              <a:gd name="connsiteX0" fmla="*/ 0 w 3316514"/>
              <a:gd name="connsiteY0" fmla="*/ 0 h 5005543"/>
              <a:gd name="connsiteX1" fmla="*/ 3316514 w 3316514"/>
              <a:gd name="connsiteY1" fmla="*/ 0 h 5005543"/>
              <a:gd name="connsiteX2" fmla="*/ 3316514 w 3316514"/>
              <a:gd name="connsiteY2" fmla="*/ 5005543 h 5005543"/>
              <a:gd name="connsiteX3" fmla="*/ 0 w 3316514"/>
              <a:gd name="connsiteY3" fmla="*/ 5005543 h 5005543"/>
              <a:gd name="connsiteX4" fmla="*/ 0 w 3316514"/>
              <a:gd name="connsiteY4" fmla="*/ 0 h 500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6514" h="5005543">
                <a:moveTo>
                  <a:pt x="0" y="0"/>
                </a:moveTo>
                <a:lnTo>
                  <a:pt x="3316514" y="0"/>
                </a:lnTo>
                <a:lnTo>
                  <a:pt x="3316514" y="5005543"/>
                </a:lnTo>
                <a:lnTo>
                  <a:pt x="0" y="50055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106680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D6559097-1A91-9FFC-F21F-16BE3CB5D48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1999" y="4400610"/>
            <a:ext cx="2390775" cy="1963893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FBE3D7D9-FE4E-F645-0D6B-D6BD88AB4D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2000" y="1419996"/>
            <a:ext cx="9722528" cy="1499654"/>
          </a:xfrm>
          <a:noFill/>
        </p:spPr>
        <p:txBody>
          <a:bodyPr lIns="0" tIns="0" rIns="0" bIns="0" anchor="ctr"/>
          <a:lstStyle>
            <a:lvl1pPr algn="l">
              <a:lnSpc>
                <a:spcPct val="11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BDBAAE8-3827-156C-C71F-4A7871A0EE7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21074" y="4400610"/>
            <a:ext cx="2390775" cy="1963893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0736FB9-A7A1-2C94-FF00-777FC87BA15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80149" y="4400610"/>
            <a:ext cx="2390775" cy="1963893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2306688-7C36-5B0F-C32D-D80D4868DC2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39225" y="4400610"/>
            <a:ext cx="2390775" cy="1963893"/>
          </a:xfrm>
        </p:spPr>
        <p:txBody>
          <a:bodyPr anchor="t"/>
          <a:lstStyle>
            <a:lvl1pPr algn="l">
              <a:lnSpc>
                <a:spcPct val="110000"/>
              </a:lnSpc>
              <a:defRPr sz="1400"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59B373A-B30C-475E-CF34-5F214ECD6CB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1999" y="3803710"/>
            <a:ext cx="2390775" cy="468439"/>
          </a:xfrm>
        </p:spPr>
        <p:txBody>
          <a:bodyPr anchor="ctr"/>
          <a:lstStyle>
            <a:lvl1pPr algn="l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3C56B31-A15D-4D36-B960-2F43896170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21074" y="3803710"/>
            <a:ext cx="2390775" cy="468439"/>
          </a:xfrm>
        </p:spPr>
        <p:txBody>
          <a:bodyPr anchor="ctr"/>
          <a:lstStyle>
            <a:lvl1pPr algn="l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0BAE760-2F39-1BA3-8B04-9BB41D92B5E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80149" y="3803710"/>
            <a:ext cx="2390775" cy="468439"/>
          </a:xfrm>
        </p:spPr>
        <p:txBody>
          <a:bodyPr anchor="ctr"/>
          <a:lstStyle>
            <a:lvl1pPr algn="l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0D800A1C-4A9A-16F3-18D7-B165E9ECFE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39225" y="3803710"/>
            <a:ext cx="2390775" cy="468439"/>
          </a:xfrm>
        </p:spPr>
        <p:txBody>
          <a:bodyPr anchor="ctr"/>
          <a:lstStyle>
            <a:lvl1pPr algn="l">
              <a:lnSpc>
                <a:spcPct val="110000"/>
              </a:lnSpc>
              <a:defRPr sz="2000" b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1E663A-AB65-659C-C628-A6121EED3CF6}"/>
              </a:ext>
            </a:extLst>
          </p:cNvPr>
          <p:cNvGrpSpPr/>
          <p:nvPr userDrawn="1"/>
        </p:nvGrpSpPr>
        <p:grpSpPr>
          <a:xfrm>
            <a:off x="10706100" y="1421346"/>
            <a:ext cx="1485900" cy="1499654"/>
            <a:chOff x="10706100" y="1421346"/>
            <a:chExt cx="1485900" cy="1499654"/>
          </a:xfrm>
        </p:grpSpPr>
        <p:pic>
          <p:nvPicPr>
            <p:cNvPr id="2" name="Picture 1" descr="A colorful pattern with different shapes&#10;&#10;Description automatically generated with medium confidence">
              <a:extLst>
                <a:ext uri="{FF2B5EF4-FFF2-40B4-BE49-F238E27FC236}">
                  <a16:creationId xmlns:a16="http://schemas.microsoft.com/office/drawing/2014/main" id="{D2803033-B20C-371E-606D-1962D04164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442419" y="1421346"/>
              <a:ext cx="747131" cy="754587"/>
            </a:xfrm>
            <a:prstGeom prst="rect">
              <a:avLst/>
            </a:prstGeom>
          </p:spPr>
        </p:pic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CF975530-F4A8-224C-8AF6-385FC65A93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449050" y="2178050"/>
              <a:ext cx="742950" cy="742950"/>
            </a:xfrm>
            <a:prstGeom prst="rect">
              <a:avLst/>
            </a:prstGeom>
          </p:spPr>
        </p:pic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BBD0D627-B7DD-8B25-09DE-953FDC7C89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706100" y="2178050"/>
              <a:ext cx="742950" cy="742950"/>
            </a:xfrm>
            <a:prstGeom prst="rect">
              <a:avLst/>
            </a:prstGeom>
          </p:spPr>
        </p:pic>
      </p:grp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ACE4847-7BE9-E61B-FCB7-E111099158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039224" y="3105228"/>
            <a:ext cx="513608" cy="511554"/>
          </a:xfrm>
          <a:prstGeom prst="roundRect">
            <a:avLst>
              <a:gd name="adj" fmla="val 6917"/>
            </a:avLst>
          </a:prstGeom>
          <a:solidFill>
            <a:schemeClr val="accent3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6B0526B-9480-7A89-CF1F-F271593984D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80149" y="3105228"/>
            <a:ext cx="513608" cy="511554"/>
          </a:xfrm>
          <a:prstGeom prst="roundRect">
            <a:avLst>
              <a:gd name="adj" fmla="val 6917"/>
            </a:avLst>
          </a:prstGeom>
          <a:solidFill>
            <a:schemeClr val="accent3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C9EF582-B95E-52BD-5CF4-780317A875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1999" y="3106578"/>
            <a:ext cx="513608" cy="511554"/>
          </a:xfrm>
          <a:prstGeom prst="roundRect">
            <a:avLst>
              <a:gd name="adj" fmla="val 6917"/>
            </a:avLst>
          </a:prstGeom>
          <a:solidFill>
            <a:schemeClr val="accent3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C5CDFD21-A41A-9223-0AEA-00080262BC2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21074" y="3105228"/>
            <a:ext cx="513608" cy="511554"/>
          </a:xfrm>
          <a:prstGeom prst="roundRect">
            <a:avLst>
              <a:gd name="adj" fmla="val 6917"/>
            </a:avLst>
          </a:prstGeom>
          <a:solidFill>
            <a:schemeClr val="accent3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22242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_Hard Waves_Teal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and with lines on it&#10;&#10;Description automatically generated">
            <a:extLst>
              <a:ext uri="{FF2B5EF4-FFF2-40B4-BE49-F238E27FC236}">
                <a16:creationId xmlns:a16="http://schemas.microsoft.com/office/drawing/2014/main" id="{AE25F7DC-7102-E524-D3A4-FD63CF8A8E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152" b="33334"/>
          <a:stretch/>
        </p:blipFill>
        <p:spPr>
          <a:xfrm>
            <a:off x="0" y="5021942"/>
            <a:ext cx="12192000" cy="183605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26BA6A6-98E4-7B31-8B9C-2D720C7D38C8}"/>
              </a:ext>
            </a:extLst>
          </p:cNvPr>
          <p:cNvSpPr>
            <a:spLocks/>
          </p:cNvSpPr>
          <p:nvPr userDrawn="1"/>
        </p:nvSpPr>
        <p:spPr>
          <a:xfrm>
            <a:off x="4658497" y="994224"/>
            <a:ext cx="6771503" cy="5145318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5C4866BB-8F1A-A3A2-5A58-B2BD38310B3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" y="994224"/>
            <a:ext cx="3635829" cy="5145318"/>
          </a:xfrm>
          <a:prstGeom prst="roundRect">
            <a:avLst>
              <a:gd name="adj" fmla="val 3761"/>
            </a:avLst>
          </a:prstGeom>
          <a:solidFill>
            <a:srgbClr val="F3ECE3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D0C53C5-6A0F-941B-0CFB-352F50E279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6064" y="2073185"/>
            <a:ext cx="6104801" cy="151674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rtl="0" fontAlgn="t">
              <a:lnSpc>
                <a:spcPct val="100000"/>
              </a:lnSpc>
              <a:defRPr sz="4400" b="0" i="0">
                <a:solidFill>
                  <a:srgbClr val="22272B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 dirty="0"/>
              <a:t>Heading for presentation in sentence cas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247A804-13A9-0723-94B1-58A845A59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76064" y="3969658"/>
            <a:ext cx="6104801" cy="820059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defRPr sz="2600" b="0" i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9ECD89-ACCA-DCD7-AD89-23D31CDAD9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0082" y="373063"/>
            <a:ext cx="1142998" cy="38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7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ntent_4 Points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04AA1CD-D55D-2653-9272-BBDE39CF1C34}"/>
              </a:ext>
            </a:extLst>
          </p:cNvPr>
          <p:cNvSpPr/>
          <p:nvPr userDrawn="1"/>
        </p:nvSpPr>
        <p:spPr>
          <a:xfrm>
            <a:off x="0" y="0"/>
            <a:ext cx="4069354" cy="5499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710FB4-7B83-644D-F8E4-495D12F81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474" y="315964"/>
            <a:ext cx="3481526" cy="1268700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ing in sentence ca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EBBCB1-C161-307B-68C2-1E4F5C0BC4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474" y="2032337"/>
            <a:ext cx="3481526" cy="3240999"/>
          </a:xfrm>
        </p:spPr>
        <p:txBody>
          <a:bodyPr/>
          <a:lstStyle>
            <a:lvl1pPr>
              <a:lnSpc>
                <a:spcPct val="11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text her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92E5683F-57A5-CE75-5320-95380031F077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572000" y="453009"/>
            <a:ext cx="6858000" cy="1179964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4E1BED7-BDEC-8B44-A940-D97F06E8EF1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572000" y="2032337"/>
            <a:ext cx="6858000" cy="1179964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7F42D26-51E8-2299-B677-F32EAAC34CCB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572000" y="3611665"/>
            <a:ext cx="6858000" cy="1179964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C598F1D6-2AE0-8D83-3008-5D73191D2482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572000" y="5190993"/>
            <a:ext cx="6858000" cy="1179964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6D697CC-2BBF-F5C3-7EC9-4676DFF0C5BF}"/>
              </a:ext>
            </a:extLst>
          </p:cNvPr>
          <p:cNvGrpSpPr/>
          <p:nvPr userDrawn="1"/>
        </p:nvGrpSpPr>
        <p:grpSpPr>
          <a:xfrm>
            <a:off x="0" y="5499100"/>
            <a:ext cx="4075071" cy="1358901"/>
            <a:chOff x="0" y="5499100"/>
            <a:chExt cx="4075071" cy="1358901"/>
          </a:xfrm>
        </p:grpSpPr>
        <p:pic>
          <p:nvPicPr>
            <p:cNvPr id="10" name="Picture 9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4F0874AD-2408-7CEF-ECE3-3DD7E670C8A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4"/>
            <a:stretch/>
          </p:blipFill>
          <p:spPr>
            <a:xfrm>
              <a:off x="0" y="5499100"/>
              <a:ext cx="2712996" cy="1358901"/>
            </a:xfrm>
            <a:custGeom>
              <a:avLst/>
              <a:gdLst>
                <a:gd name="connsiteX0" fmla="*/ 0 w 2712996"/>
                <a:gd name="connsiteY0" fmla="*/ 0 h 1358901"/>
                <a:gd name="connsiteX1" fmla="*/ 2712996 w 2712996"/>
                <a:gd name="connsiteY1" fmla="*/ 0 h 1358901"/>
                <a:gd name="connsiteX2" fmla="*/ 2712996 w 2712996"/>
                <a:gd name="connsiteY2" fmla="*/ 1358901 h 1358901"/>
                <a:gd name="connsiteX3" fmla="*/ 0 w 2712996"/>
                <a:gd name="connsiteY3" fmla="*/ 1358901 h 135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2996" h="1358901">
                  <a:moveTo>
                    <a:pt x="0" y="0"/>
                  </a:moveTo>
                  <a:lnTo>
                    <a:pt x="2712996" y="0"/>
                  </a:lnTo>
                  <a:lnTo>
                    <a:pt x="2712996" y="1358901"/>
                  </a:lnTo>
                  <a:lnTo>
                    <a:pt x="0" y="1358901"/>
                  </a:lnTo>
                  <a:close/>
                </a:path>
              </a:pathLst>
            </a:custGeom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90D7788-8BD6-28E0-D2E5-811A013DE080}"/>
                </a:ext>
              </a:extLst>
            </p:cNvPr>
            <p:cNvGrpSpPr/>
            <p:nvPr userDrawn="1"/>
          </p:nvGrpSpPr>
          <p:grpSpPr>
            <a:xfrm>
              <a:off x="2712996" y="5499100"/>
              <a:ext cx="1362075" cy="1355707"/>
              <a:chOff x="2712996" y="6010275"/>
              <a:chExt cx="1363703" cy="1357327"/>
            </a:xfrm>
          </p:grpSpPr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AF4EA9BC-B75B-FE41-CB03-454DEA4CC6B0}"/>
                  </a:ext>
                </a:extLst>
              </p:cNvPr>
              <p:cNvSpPr/>
              <p:nvPr/>
            </p:nvSpPr>
            <p:spPr>
              <a:xfrm>
                <a:off x="2712996" y="6010275"/>
                <a:ext cx="1363703" cy="1357327"/>
              </a:xfrm>
              <a:custGeom>
                <a:avLst/>
                <a:gdLst>
                  <a:gd name="connsiteX0" fmla="*/ 1363705 w 1363703"/>
                  <a:gd name="connsiteY0" fmla="*/ -577 h 1357327"/>
                  <a:gd name="connsiteX1" fmla="*/ 1630 w 1363703"/>
                  <a:gd name="connsiteY1" fmla="*/ 1356750 h 1357327"/>
                  <a:gd name="connsiteX2" fmla="*/ 1 w 1363703"/>
                  <a:gd name="connsiteY2" fmla="*/ 1356750 h 1357327"/>
                  <a:gd name="connsiteX3" fmla="*/ 1630 w 1363703"/>
                  <a:gd name="connsiteY3" fmla="*/ -577 h 135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3703" h="1357327">
                    <a:moveTo>
                      <a:pt x="1363705" y="-577"/>
                    </a:moveTo>
                    <a:cubicBezTo>
                      <a:pt x="1363705" y="749058"/>
                      <a:pt x="753886" y="1356750"/>
                      <a:pt x="1630" y="1356750"/>
                    </a:cubicBezTo>
                    <a:cubicBezTo>
                      <a:pt x="1087" y="1356750"/>
                      <a:pt x="544" y="1356750"/>
                      <a:pt x="1" y="1356750"/>
                    </a:cubicBezTo>
                    <a:lnTo>
                      <a:pt x="1630" y="-577"/>
                    </a:lnTo>
                    <a:close/>
                  </a:path>
                </a:pathLst>
              </a:custGeom>
              <a:solidFill>
                <a:srgbClr val="F3EC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4245F95D-BEB3-8C7C-03DC-F4AE3EFB1EA7}"/>
                  </a:ext>
                </a:extLst>
              </p:cNvPr>
              <p:cNvSpPr/>
              <p:nvPr/>
            </p:nvSpPr>
            <p:spPr>
              <a:xfrm>
                <a:off x="2712997" y="6010275"/>
                <a:ext cx="685832" cy="682625"/>
              </a:xfrm>
              <a:custGeom>
                <a:avLst/>
                <a:gdLst>
                  <a:gd name="connsiteX0" fmla="*/ 1363705 w 1363703"/>
                  <a:gd name="connsiteY0" fmla="*/ -577 h 1357327"/>
                  <a:gd name="connsiteX1" fmla="*/ 1630 w 1363703"/>
                  <a:gd name="connsiteY1" fmla="*/ 1356750 h 1357327"/>
                  <a:gd name="connsiteX2" fmla="*/ 1 w 1363703"/>
                  <a:gd name="connsiteY2" fmla="*/ 1356750 h 1357327"/>
                  <a:gd name="connsiteX3" fmla="*/ 1630 w 1363703"/>
                  <a:gd name="connsiteY3" fmla="*/ -577 h 135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3703" h="1357327">
                    <a:moveTo>
                      <a:pt x="1363705" y="-577"/>
                    </a:moveTo>
                    <a:cubicBezTo>
                      <a:pt x="1363705" y="749058"/>
                      <a:pt x="753886" y="1356750"/>
                      <a:pt x="1630" y="1356750"/>
                    </a:cubicBezTo>
                    <a:cubicBezTo>
                      <a:pt x="1087" y="1356750"/>
                      <a:pt x="544" y="1356750"/>
                      <a:pt x="1" y="1356750"/>
                    </a:cubicBezTo>
                    <a:lnTo>
                      <a:pt x="1630" y="-577"/>
                    </a:lnTo>
                    <a:close/>
                  </a:path>
                </a:pathLst>
              </a:custGeom>
              <a:solidFill>
                <a:srgbClr val="4A4F5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006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-Sub_Conten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38">
            <a:extLst>
              <a:ext uri="{FF2B5EF4-FFF2-40B4-BE49-F238E27FC236}">
                <a16:creationId xmlns:a16="http://schemas.microsoft.com/office/drawing/2014/main" id="{2723F42A-475C-5C57-7D82-B8A0525DAAFC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052690" y="0"/>
            <a:ext cx="5137214" cy="6858001"/>
          </a:xfrm>
          <a:prstGeom prst="rect">
            <a:avLst/>
          </a:prstGeom>
          <a:solidFill>
            <a:srgbClr val="F3ECE3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D86488C-46B9-1147-BEE8-53F6A72DDE98}"/>
              </a:ext>
            </a:extLst>
          </p:cNvPr>
          <p:cNvSpPr>
            <a:spLocks noGrp="1"/>
          </p:cNvSpPr>
          <p:nvPr userDrawn="1">
            <p:ph idx="11" hasCustomPrompt="1"/>
          </p:nvPr>
        </p:nvSpPr>
        <p:spPr>
          <a:xfrm>
            <a:off x="762000" y="1230367"/>
            <a:ext cx="5791200" cy="513492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>
                <a:solidFill>
                  <a:srgbClr val="22272B"/>
                </a:solidFill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97CE6F-DC00-28F1-96F1-39DEE027672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315965"/>
            <a:ext cx="57912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/>
              <a:t>Heading in sentence cas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D4378EA-FDB8-4DCB-BA89-728C6EB240D9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N°›</a:t>
            </a:fld>
            <a:endParaRPr lang="en-US" sz="9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9" name="TextBox 38">
            <a:hlinkClick r:id="rId2"/>
            <a:extLst>
              <a:ext uri="{FF2B5EF4-FFF2-40B4-BE49-F238E27FC236}">
                <a16:creationId xmlns:a16="http://schemas.microsoft.com/office/drawing/2014/main" id="{F082777D-1159-18E1-44E8-D7779EE2074E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 dirty="0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</p:spTree>
    <p:extLst>
      <p:ext uri="{BB962C8B-B14F-4D97-AF65-F5344CB8AC3E}">
        <p14:creationId xmlns:p14="http://schemas.microsoft.com/office/powerpoint/2010/main" val="195600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ading-Sub_Content_Imag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741DCBAD-B038-102A-8269-9B4DD4D991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7629685" y="5344857"/>
            <a:ext cx="4562314" cy="1517322"/>
          </a:xfrm>
          <a:custGeom>
            <a:avLst/>
            <a:gdLst>
              <a:gd name="connsiteX0" fmla="*/ 0 w 4562314"/>
              <a:gd name="connsiteY0" fmla="*/ 0 h 1517322"/>
              <a:gd name="connsiteX1" fmla="*/ 4562314 w 4562314"/>
              <a:gd name="connsiteY1" fmla="*/ 0 h 1517322"/>
              <a:gd name="connsiteX2" fmla="*/ 4562314 w 4562314"/>
              <a:gd name="connsiteY2" fmla="*/ 1517322 h 1517322"/>
              <a:gd name="connsiteX3" fmla="*/ 0 w 4562314"/>
              <a:gd name="connsiteY3" fmla="*/ 1517322 h 151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2314" h="1517322">
                <a:moveTo>
                  <a:pt x="0" y="0"/>
                </a:moveTo>
                <a:lnTo>
                  <a:pt x="4562314" y="0"/>
                </a:lnTo>
                <a:lnTo>
                  <a:pt x="4562314" y="1517322"/>
                </a:lnTo>
                <a:lnTo>
                  <a:pt x="0" y="1517322"/>
                </a:lnTo>
                <a:close/>
              </a:path>
            </a:pathLst>
          </a:cu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D86488C-46B9-1147-BEE8-53F6A72DDE98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2000" y="1661111"/>
            <a:ext cx="6578600" cy="47041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110000"/>
              </a:lnSpc>
              <a:defRPr sz="1600">
                <a:solidFill>
                  <a:srgbClr val="22272B"/>
                </a:solidFill>
              </a:defRPr>
            </a:lvl1pPr>
            <a:lvl2pPr marL="27432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2pPr>
            <a:lvl3pPr marL="54864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3pPr>
            <a:lvl4pPr marL="822960" indent="-274320">
              <a:lnSpc>
                <a:spcPct val="110000"/>
              </a:lnSpc>
              <a:buFont typeface="Wingdings" pitchFamily="2" charset="2"/>
              <a:buChar char="§"/>
              <a:defRPr sz="1600">
                <a:solidFill>
                  <a:srgbClr val="22272B"/>
                </a:solidFill>
              </a:defRPr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97CE6F-DC00-28F1-96F1-39DEE0276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15965"/>
            <a:ext cx="6578600" cy="598436"/>
          </a:xfrm>
        </p:spPr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Heading in sentence cas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D4378EA-FDB8-4DCB-BA89-728C6EB240D9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N°›</a:t>
            </a:fld>
            <a:endParaRPr lang="en-US" sz="9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9" name="TextBox 38">
            <a:hlinkClick r:id="rId3"/>
            <a:extLst>
              <a:ext uri="{FF2B5EF4-FFF2-40B4-BE49-F238E27FC236}">
                <a16:creationId xmlns:a16="http://schemas.microsoft.com/office/drawing/2014/main" id="{F082777D-1159-18E1-44E8-D7779EE2074E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 dirty="0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A92D61B-F0D8-F8BD-8D2D-70C6A4071A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0" y="990600"/>
            <a:ext cx="6578600" cy="4572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10000"/>
              </a:lnSpc>
              <a:defRPr sz="2400" b="0" i="0">
                <a:solidFill>
                  <a:srgbClr val="006580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dirty="0"/>
              <a:t>Subheading in sentence case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37728635-8A97-3BAB-E449-68776C983A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29683" y="-1"/>
            <a:ext cx="4562316" cy="5344858"/>
          </a:xfrm>
          <a:prstGeom prst="rect">
            <a:avLst/>
          </a:prstGeom>
          <a:solidFill>
            <a:srgbClr val="F3ECE3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5661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62D4570A-BE66-E2ED-3EF6-4D45886CD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4994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4570A-BE66-E2ED-3EF6-4D45886CD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7AC61C1C-CDD1-4800-19C3-194014D0EB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000" y="4724400"/>
            <a:ext cx="3048000" cy="76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dirty="0">
                <a:solidFill>
                  <a:schemeClr val="accent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/>
              <a:t>Insert quote attribution here</a:t>
            </a: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B84426F3-3F7C-37BD-A47B-EBD9DCED75B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2000" y="2209800"/>
            <a:ext cx="7620000" cy="22098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>
              <a:lnSpc>
                <a:spcPct val="110000"/>
              </a:lnSpc>
              <a:defRPr lang="en-US" sz="2800" b="0" i="0" kern="1200" dirty="0">
                <a:solidFill>
                  <a:srgbClr val="22272B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Insert quote he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442B1-A63E-B4EB-7CC9-DFBAC4D2B67E}"/>
              </a:ext>
            </a:extLst>
          </p:cNvPr>
          <p:cNvSpPr>
            <a:spLocks/>
          </p:cNvSpPr>
          <p:nvPr/>
        </p:nvSpPr>
        <p:spPr>
          <a:xfrm>
            <a:off x="10498601" y="5141119"/>
            <a:ext cx="1714181" cy="17168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BE17AC3-0F39-C08B-DF9D-F18705B2DC47}"/>
              </a:ext>
            </a:extLst>
          </p:cNvPr>
          <p:cNvGrpSpPr/>
          <p:nvPr userDrawn="1"/>
        </p:nvGrpSpPr>
        <p:grpSpPr>
          <a:xfrm>
            <a:off x="7084087" y="-10116"/>
            <a:ext cx="5128696" cy="6874053"/>
            <a:chOff x="7084087" y="-10116"/>
            <a:chExt cx="5128696" cy="687405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CA585E1-0432-6DBC-66F4-E99AA57C9CF5}"/>
                </a:ext>
              </a:extLst>
            </p:cNvPr>
            <p:cNvSpPr>
              <a:spLocks/>
            </p:cNvSpPr>
            <p:nvPr userDrawn="1"/>
          </p:nvSpPr>
          <p:spPr>
            <a:xfrm>
              <a:off x="8784420" y="1701505"/>
              <a:ext cx="1778000" cy="1917995"/>
            </a:xfrm>
            <a:prstGeom prst="rect">
              <a:avLst/>
            </a:prstGeom>
            <a:solidFill>
              <a:srgbClr val="00A0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6" name="Graphic 33">
              <a:extLst>
                <a:ext uri="{FF2B5EF4-FFF2-40B4-BE49-F238E27FC236}">
                  <a16:creationId xmlns:a16="http://schemas.microsoft.com/office/drawing/2014/main" id="{DB03DAB9-8392-E2E6-F3E4-02F36F2A8AC7}"/>
                </a:ext>
              </a:extLst>
            </p:cNvPr>
            <p:cNvSpPr/>
            <p:nvPr/>
          </p:nvSpPr>
          <p:spPr>
            <a:xfrm>
              <a:off x="10498599" y="-10116"/>
              <a:ext cx="1710406" cy="1716513"/>
            </a:xfrm>
            <a:custGeom>
              <a:avLst/>
              <a:gdLst>
                <a:gd name="connsiteX0" fmla="*/ -1149 w 1710406"/>
                <a:gd name="connsiteY0" fmla="*/ 1716306 h 1716513"/>
                <a:gd name="connsiteX1" fmla="*/ 1706915 w 1710406"/>
                <a:gd name="connsiteY1" fmla="*/ -208 h 1716513"/>
                <a:gd name="connsiteX2" fmla="*/ 1709256 w 1710406"/>
                <a:gd name="connsiteY2" fmla="*/ -208 h 1716513"/>
                <a:gd name="connsiteX3" fmla="*/ 1709256 w 1710406"/>
                <a:gd name="connsiteY3" fmla="*/ 1713973 h 1716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406" h="1716513">
                  <a:moveTo>
                    <a:pt x="-1149" y="1716306"/>
                  </a:moveTo>
                  <a:cubicBezTo>
                    <a:pt x="-2433" y="769587"/>
                    <a:pt x="762303" y="1083"/>
                    <a:pt x="1706915" y="-208"/>
                  </a:cubicBezTo>
                  <a:cubicBezTo>
                    <a:pt x="1707670" y="-208"/>
                    <a:pt x="1708501" y="-208"/>
                    <a:pt x="1709256" y="-208"/>
                  </a:cubicBezTo>
                  <a:lnTo>
                    <a:pt x="1709256" y="1713973"/>
                  </a:lnTo>
                  <a:close/>
                </a:path>
              </a:pathLst>
            </a:custGeom>
            <a:solidFill>
              <a:srgbClr val="B9EDEB"/>
            </a:solidFill>
            <a:ln w="75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AEE8E26-9677-6E41-951B-76F5C3CF54D9}"/>
                </a:ext>
              </a:extLst>
            </p:cNvPr>
            <p:cNvSpPr>
              <a:spLocks/>
            </p:cNvSpPr>
            <p:nvPr/>
          </p:nvSpPr>
          <p:spPr>
            <a:xfrm>
              <a:off x="10498602" y="3423305"/>
              <a:ext cx="1714181" cy="1721800"/>
            </a:xfrm>
            <a:prstGeom prst="rect">
              <a:avLst/>
            </a:prstGeom>
            <a:solidFill>
              <a:srgbClr val="4A4F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71F5C71-C25C-DB0A-11BE-92A3FA615B5B}"/>
                </a:ext>
              </a:extLst>
            </p:cNvPr>
            <p:cNvSpPr/>
            <p:nvPr/>
          </p:nvSpPr>
          <p:spPr>
            <a:xfrm>
              <a:off x="10515600" y="5141119"/>
              <a:ext cx="1697182" cy="1716881"/>
            </a:xfrm>
            <a:custGeom>
              <a:avLst/>
              <a:gdLst>
                <a:gd name="connsiteX0" fmla="*/ 1638300 w 1697182"/>
                <a:gd name="connsiteY0" fmla="*/ 0 h 1716881"/>
                <a:gd name="connsiteX1" fmla="*/ 1697182 w 1697182"/>
                <a:gd name="connsiteY1" fmla="*/ 2974 h 1716881"/>
                <a:gd name="connsiteX2" fmla="*/ 1697182 w 1697182"/>
                <a:gd name="connsiteY2" fmla="*/ 860092 h 1716881"/>
                <a:gd name="connsiteX3" fmla="*/ 1697182 w 1697182"/>
                <a:gd name="connsiteY3" fmla="*/ 893632 h 1716881"/>
                <a:gd name="connsiteX4" fmla="*/ 1697182 w 1697182"/>
                <a:gd name="connsiteY4" fmla="*/ 1716881 h 1716881"/>
                <a:gd name="connsiteX5" fmla="*/ 723900 w 1697182"/>
                <a:gd name="connsiteY5" fmla="*/ 1716881 h 1716881"/>
                <a:gd name="connsiteX6" fmla="*/ 723900 w 1697182"/>
                <a:gd name="connsiteY6" fmla="*/ 1716880 h 1716881"/>
                <a:gd name="connsiteX7" fmla="*/ 3968 w 1697182"/>
                <a:gd name="connsiteY7" fmla="*/ 1716880 h 1716881"/>
                <a:gd name="connsiteX8" fmla="*/ 0 w 1697182"/>
                <a:gd name="connsiteY8" fmla="*/ 1638300 h 1716881"/>
                <a:gd name="connsiteX9" fmla="*/ 1638300 w 1697182"/>
                <a:gd name="connsiteY9" fmla="*/ 0 h 171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97182" h="1716881">
                  <a:moveTo>
                    <a:pt x="1638300" y="0"/>
                  </a:moveTo>
                  <a:lnTo>
                    <a:pt x="1697182" y="2974"/>
                  </a:lnTo>
                  <a:lnTo>
                    <a:pt x="1697182" y="860092"/>
                  </a:lnTo>
                  <a:lnTo>
                    <a:pt x="1697182" y="893632"/>
                  </a:lnTo>
                  <a:lnTo>
                    <a:pt x="1697182" y="1716881"/>
                  </a:lnTo>
                  <a:lnTo>
                    <a:pt x="723900" y="1716881"/>
                  </a:lnTo>
                  <a:lnTo>
                    <a:pt x="723900" y="1716880"/>
                  </a:lnTo>
                  <a:lnTo>
                    <a:pt x="3968" y="1716880"/>
                  </a:lnTo>
                  <a:lnTo>
                    <a:pt x="0" y="1638300"/>
                  </a:lnTo>
                  <a:cubicBezTo>
                    <a:pt x="0" y="733492"/>
                    <a:pt x="733492" y="0"/>
                    <a:pt x="1638300" y="0"/>
                  </a:cubicBezTo>
                  <a:close/>
                </a:path>
              </a:pathLst>
            </a:custGeom>
            <a:solidFill>
              <a:srgbClr val="B9E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F89F1A0-74B4-0888-E254-D656E4BA98EF}"/>
                </a:ext>
              </a:extLst>
            </p:cNvPr>
            <p:cNvSpPr/>
            <p:nvPr/>
          </p:nvSpPr>
          <p:spPr>
            <a:xfrm flipH="1" flipV="1">
              <a:off x="8784420" y="3423305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F3ECE3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994AD79-D146-3805-F03F-2167BCD63264}"/>
                </a:ext>
              </a:extLst>
            </p:cNvPr>
            <p:cNvSpPr/>
            <p:nvPr/>
          </p:nvSpPr>
          <p:spPr>
            <a:xfrm rot="10800000" flipH="1" flipV="1">
              <a:off x="8784420" y="3423305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006580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CD832FD-43E4-9A0A-0BBB-821CE6604F54}"/>
                </a:ext>
              </a:extLst>
            </p:cNvPr>
            <p:cNvSpPr/>
            <p:nvPr/>
          </p:nvSpPr>
          <p:spPr>
            <a:xfrm rot="10800000" flipV="1">
              <a:off x="8784420" y="1701505"/>
              <a:ext cx="1714181" cy="1714147"/>
            </a:xfrm>
            <a:custGeom>
              <a:avLst/>
              <a:gdLst>
                <a:gd name="connsiteX0" fmla="*/ 1714181 w 1714181"/>
                <a:gd name="connsiteY0" fmla="*/ 0 h 1714147"/>
                <a:gd name="connsiteX1" fmla="*/ 0 w 1714181"/>
                <a:gd name="connsiteY1" fmla="*/ 1714148 h 1714147"/>
                <a:gd name="connsiteX2" fmla="*/ 1714181 w 1714181"/>
                <a:gd name="connsiteY2" fmla="*/ 0 h 17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14147">
                  <a:moveTo>
                    <a:pt x="1714181" y="0"/>
                  </a:moveTo>
                  <a:cubicBezTo>
                    <a:pt x="932124" y="42042"/>
                    <a:pt x="74236" y="622933"/>
                    <a:pt x="0" y="1714148"/>
                  </a:cubicBezTo>
                  <a:cubicBezTo>
                    <a:pt x="411291" y="1699577"/>
                    <a:pt x="1584121" y="1307810"/>
                    <a:pt x="1714181" y="0"/>
                  </a:cubicBezTo>
                  <a:close/>
                </a:path>
              </a:pathLst>
            </a:custGeom>
            <a:solidFill>
              <a:srgbClr val="B9EDEB"/>
            </a:solidFill>
            <a:ln w="7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EE24406-FE75-50BA-9C68-00EC42278F1E}"/>
                </a:ext>
              </a:extLst>
            </p:cNvPr>
            <p:cNvSpPr/>
            <p:nvPr/>
          </p:nvSpPr>
          <p:spPr>
            <a:xfrm rot="10800000" flipV="1">
              <a:off x="8784420" y="1701505"/>
              <a:ext cx="1714181" cy="1721800"/>
            </a:xfrm>
            <a:custGeom>
              <a:avLst/>
              <a:gdLst>
                <a:gd name="connsiteX0" fmla="*/ 1714181 w 1714181"/>
                <a:gd name="connsiteY0" fmla="*/ 0 h 1721800"/>
                <a:gd name="connsiteX1" fmla="*/ 0 w 1714181"/>
                <a:gd name="connsiteY1" fmla="*/ 0 h 1721800"/>
                <a:gd name="connsiteX2" fmla="*/ 0 w 1714181"/>
                <a:gd name="connsiteY2" fmla="*/ 1721800 h 1721800"/>
                <a:gd name="connsiteX3" fmla="*/ 1714181 w 1714181"/>
                <a:gd name="connsiteY3" fmla="*/ 6843 h 1721800"/>
                <a:gd name="connsiteX4" fmla="*/ 1714181 w 1714181"/>
                <a:gd name="connsiteY4" fmla="*/ 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181" h="1721800">
                  <a:moveTo>
                    <a:pt x="1714181" y="0"/>
                  </a:moveTo>
                  <a:lnTo>
                    <a:pt x="0" y="0"/>
                  </a:lnTo>
                  <a:lnTo>
                    <a:pt x="0" y="1721800"/>
                  </a:lnTo>
                  <a:cubicBezTo>
                    <a:pt x="74236" y="630069"/>
                    <a:pt x="932124" y="48905"/>
                    <a:pt x="1714181" y="6843"/>
                  </a:cubicBezTo>
                  <a:lnTo>
                    <a:pt x="1714181" y="0"/>
                  </a:lnTo>
                  <a:close/>
                </a:path>
              </a:pathLst>
            </a:custGeom>
            <a:solidFill>
              <a:srgbClr val="4A4F54"/>
            </a:solidFill>
            <a:ln w="7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5687560-FEC9-BF24-1FAB-0D19D1E2063F}"/>
                </a:ext>
              </a:extLst>
            </p:cNvPr>
            <p:cNvSpPr/>
            <p:nvPr/>
          </p:nvSpPr>
          <p:spPr>
            <a:xfrm rot="10800000" flipV="1">
              <a:off x="8784420" y="1709157"/>
              <a:ext cx="1714181" cy="1714147"/>
            </a:xfrm>
            <a:custGeom>
              <a:avLst/>
              <a:gdLst>
                <a:gd name="connsiteX0" fmla="*/ 1714181 w 1714181"/>
                <a:gd name="connsiteY0" fmla="*/ 1 h 1714147"/>
                <a:gd name="connsiteX1" fmla="*/ 0 w 1714181"/>
                <a:gd name="connsiteY1" fmla="*/ 1714149 h 1714147"/>
                <a:gd name="connsiteX2" fmla="*/ 1714181 w 1714181"/>
                <a:gd name="connsiteY2" fmla="*/ 1714149 h 1714147"/>
                <a:gd name="connsiteX3" fmla="*/ 1714181 w 1714181"/>
                <a:gd name="connsiteY3" fmla="*/ 1 h 17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181" h="1714147">
                  <a:moveTo>
                    <a:pt x="1714181" y="1"/>
                  </a:moveTo>
                  <a:cubicBezTo>
                    <a:pt x="1584121" y="1307811"/>
                    <a:pt x="411291" y="1699578"/>
                    <a:pt x="0" y="1714149"/>
                  </a:cubicBezTo>
                  <a:lnTo>
                    <a:pt x="1714181" y="1714149"/>
                  </a:lnTo>
                  <a:lnTo>
                    <a:pt x="1714181" y="1"/>
                  </a:lnTo>
                  <a:close/>
                </a:path>
              </a:pathLst>
            </a:custGeom>
            <a:solidFill>
              <a:srgbClr val="00A0CC"/>
            </a:solidFill>
            <a:ln w="74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7DDE2E-15E2-AA99-B076-3EC49BC7EFFF}"/>
                </a:ext>
              </a:extLst>
            </p:cNvPr>
            <p:cNvGrpSpPr/>
            <p:nvPr/>
          </p:nvGrpSpPr>
          <p:grpSpPr>
            <a:xfrm>
              <a:off x="8784420" y="5142136"/>
              <a:ext cx="1714181" cy="1721800"/>
              <a:chOff x="8784420" y="5142136"/>
              <a:chExt cx="1714181" cy="1721800"/>
            </a:xfrm>
          </p:grpSpPr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02232F20-8315-CE8B-23A4-5C43385EFE78}"/>
                  </a:ext>
                </a:extLst>
              </p:cNvPr>
              <p:cNvSpPr/>
              <p:nvPr/>
            </p:nvSpPr>
            <p:spPr>
              <a:xfrm rot="10800000" flipH="1" flipV="1">
                <a:off x="8784420" y="5142136"/>
                <a:ext cx="1714181" cy="1714147"/>
              </a:xfrm>
              <a:custGeom>
                <a:avLst/>
                <a:gdLst>
                  <a:gd name="connsiteX0" fmla="*/ 1714181 w 1714181"/>
                  <a:gd name="connsiteY0" fmla="*/ 0 h 1714147"/>
                  <a:gd name="connsiteX1" fmla="*/ 0 w 1714181"/>
                  <a:gd name="connsiteY1" fmla="*/ 1714148 h 1714147"/>
                  <a:gd name="connsiteX2" fmla="*/ 1714181 w 1714181"/>
                  <a:gd name="connsiteY2" fmla="*/ 0 h 17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14181" h="1714147">
                    <a:moveTo>
                      <a:pt x="1714181" y="0"/>
                    </a:moveTo>
                    <a:cubicBezTo>
                      <a:pt x="932124" y="42042"/>
                      <a:pt x="74236" y="622933"/>
                      <a:pt x="0" y="1714148"/>
                    </a:cubicBezTo>
                    <a:cubicBezTo>
                      <a:pt x="411291" y="1699577"/>
                      <a:pt x="1584121" y="1307810"/>
                      <a:pt x="17141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4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72A550A5-9781-EFE0-9276-57A4806ADD2B}"/>
                  </a:ext>
                </a:extLst>
              </p:cNvPr>
              <p:cNvSpPr/>
              <p:nvPr/>
            </p:nvSpPr>
            <p:spPr>
              <a:xfrm rot="10800000" flipH="1" flipV="1">
                <a:off x="8784420" y="5142136"/>
                <a:ext cx="1714181" cy="1721800"/>
              </a:xfrm>
              <a:custGeom>
                <a:avLst/>
                <a:gdLst>
                  <a:gd name="connsiteX0" fmla="*/ 1714181 w 1714181"/>
                  <a:gd name="connsiteY0" fmla="*/ 0 h 1721800"/>
                  <a:gd name="connsiteX1" fmla="*/ 0 w 1714181"/>
                  <a:gd name="connsiteY1" fmla="*/ 0 h 1721800"/>
                  <a:gd name="connsiteX2" fmla="*/ 0 w 1714181"/>
                  <a:gd name="connsiteY2" fmla="*/ 1721800 h 1721800"/>
                  <a:gd name="connsiteX3" fmla="*/ 1714181 w 1714181"/>
                  <a:gd name="connsiteY3" fmla="*/ 6843 h 1721800"/>
                  <a:gd name="connsiteX4" fmla="*/ 1714181 w 1714181"/>
                  <a:gd name="connsiteY4" fmla="*/ 0 h 1721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181" h="1721800">
                    <a:moveTo>
                      <a:pt x="1714181" y="0"/>
                    </a:moveTo>
                    <a:lnTo>
                      <a:pt x="0" y="0"/>
                    </a:lnTo>
                    <a:lnTo>
                      <a:pt x="0" y="1721800"/>
                    </a:lnTo>
                    <a:cubicBezTo>
                      <a:pt x="74236" y="630069"/>
                      <a:pt x="932124" y="48905"/>
                      <a:pt x="1714181" y="6843"/>
                    </a:cubicBezTo>
                    <a:lnTo>
                      <a:pt x="1714181" y="0"/>
                    </a:lnTo>
                    <a:close/>
                  </a:path>
                </a:pathLst>
              </a:custGeom>
              <a:solidFill>
                <a:srgbClr val="B9EDEB"/>
              </a:solidFill>
              <a:ln w="74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A9B29B54-86F1-D3AD-5A98-FB645FD7A4B5}"/>
                  </a:ext>
                </a:extLst>
              </p:cNvPr>
              <p:cNvSpPr/>
              <p:nvPr/>
            </p:nvSpPr>
            <p:spPr>
              <a:xfrm rot="10800000" flipH="1" flipV="1">
                <a:off x="8784420" y="5143438"/>
                <a:ext cx="1714181" cy="1714147"/>
              </a:xfrm>
              <a:custGeom>
                <a:avLst/>
                <a:gdLst>
                  <a:gd name="connsiteX0" fmla="*/ 1714181 w 1714181"/>
                  <a:gd name="connsiteY0" fmla="*/ 1 h 1714147"/>
                  <a:gd name="connsiteX1" fmla="*/ 0 w 1714181"/>
                  <a:gd name="connsiteY1" fmla="*/ 1714149 h 1714147"/>
                  <a:gd name="connsiteX2" fmla="*/ 1714181 w 1714181"/>
                  <a:gd name="connsiteY2" fmla="*/ 1714149 h 1714147"/>
                  <a:gd name="connsiteX3" fmla="*/ 1714181 w 1714181"/>
                  <a:gd name="connsiteY3" fmla="*/ 1 h 1714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181" h="1714147">
                    <a:moveTo>
                      <a:pt x="1714181" y="1"/>
                    </a:moveTo>
                    <a:cubicBezTo>
                      <a:pt x="1584121" y="1307811"/>
                      <a:pt x="411291" y="1699578"/>
                      <a:pt x="0" y="1714149"/>
                    </a:cubicBezTo>
                    <a:lnTo>
                      <a:pt x="1714181" y="1714149"/>
                    </a:lnTo>
                    <a:lnTo>
                      <a:pt x="1714181" y="1"/>
                    </a:lnTo>
                    <a:close/>
                  </a:path>
                </a:pathLst>
              </a:custGeom>
              <a:solidFill>
                <a:srgbClr val="00A0CC"/>
              </a:solidFill>
              <a:ln w="74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  <p:sp>
          <p:nvSpPr>
            <p:cNvPr id="36" name="Graphic 9">
              <a:extLst>
                <a:ext uri="{FF2B5EF4-FFF2-40B4-BE49-F238E27FC236}">
                  <a16:creationId xmlns:a16="http://schemas.microsoft.com/office/drawing/2014/main" id="{C4B76DDD-A338-074B-E274-E18A0A4F38E9}"/>
                </a:ext>
              </a:extLst>
            </p:cNvPr>
            <p:cNvSpPr/>
            <p:nvPr/>
          </p:nvSpPr>
          <p:spPr>
            <a:xfrm>
              <a:off x="11354605" y="850375"/>
              <a:ext cx="858177" cy="861241"/>
            </a:xfrm>
            <a:custGeom>
              <a:avLst/>
              <a:gdLst>
                <a:gd name="connsiteX0" fmla="*/ -1149 w 1710406"/>
                <a:gd name="connsiteY0" fmla="*/ 1716306 h 1716513"/>
                <a:gd name="connsiteX1" fmla="*/ 1706915 w 1710406"/>
                <a:gd name="connsiteY1" fmla="*/ -208 h 1716513"/>
                <a:gd name="connsiteX2" fmla="*/ 1709256 w 1710406"/>
                <a:gd name="connsiteY2" fmla="*/ -208 h 1716513"/>
                <a:gd name="connsiteX3" fmla="*/ 1709256 w 1710406"/>
                <a:gd name="connsiteY3" fmla="*/ 1713973 h 1716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406" h="1716513">
                  <a:moveTo>
                    <a:pt x="-1149" y="1716306"/>
                  </a:moveTo>
                  <a:cubicBezTo>
                    <a:pt x="-2433" y="769587"/>
                    <a:pt x="762303" y="1083"/>
                    <a:pt x="1706915" y="-208"/>
                  </a:cubicBezTo>
                  <a:cubicBezTo>
                    <a:pt x="1707670" y="-208"/>
                    <a:pt x="1708501" y="-208"/>
                    <a:pt x="1709256" y="-208"/>
                  </a:cubicBezTo>
                  <a:lnTo>
                    <a:pt x="1709256" y="1713973"/>
                  </a:lnTo>
                  <a:close/>
                </a:path>
              </a:pathLst>
            </a:custGeom>
            <a:solidFill>
              <a:srgbClr val="4A4F54"/>
            </a:solidFill>
            <a:ln w="75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F3CCB52-516E-E208-E7EE-F64B16322F40}"/>
                </a:ext>
              </a:extLst>
            </p:cNvPr>
            <p:cNvSpPr/>
            <p:nvPr/>
          </p:nvSpPr>
          <p:spPr>
            <a:xfrm flipH="1" flipV="1">
              <a:off x="10498602" y="1704472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F3ECE3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B298B22-D779-CB87-F1B7-9275650225B3}"/>
                </a:ext>
              </a:extLst>
            </p:cNvPr>
            <p:cNvSpPr/>
            <p:nvPr/>
          </p:nvSpPr>
          <p:spPr>
            <a:xfrm rot="10800000" flipH="1" flipV="1">
              <a:off x="10498602" y="1704472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E7D7CC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DE1C336F-4AC9-C628-92A6-1E56FA8E326C}"/>
                </a:ext>
              </a:extLst>
            </p:cNvPr>
            <p:cNvSpPr/>
            <p:nvPr/>
          </p:nvSpPr>
          <p:spPr>
            <a:xfrm rot="10800000" flipH="1">
              <a:off x="10498602" y="3423305"/>
              <a:ext cx="1714181" cy="1721800"/>
            </a:xfrm>
            <a:custGeom>
              <a:avLst/>
              <a:gdLst>
                <a:gd name="connsiteX0" fmla="*/ 0 w 1714181"/>
                <a:gd name="connsiteY0" fmla="*/ 1721800 h 1721800"/>
                <a:gd name="connsiteX1" fmla="*/ 0 w 1714181"/>
                <a:gd name="connsiteY1" fmla="*/ 0 h 1721800"/>
                <a:gd name="connsiteX2" fmla="*/ 1714181 w 1714181"/>
                <a:gd name="connsiteY2" fmla="*/ 1721800 h 172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181" h="1721800">
                  <a:moveTo>
                    <a:pt x="0" y="1721800"/>
                  </a:moveTo>
                  <a:lnTo>
                    <a:pt x="0" y="0"/>
                  </a:lnTo>
                  <a:lnTo>
                    <a:pt x="1714181" y="1721800"/>
                  </a:lnTo>
                  <a:close/>
                </a:path>
              </a:pathLst>
            </a:custGeom>
            <a:solidFill>
              <a:srgbClr val="E7D7CC"/>
            </a:solidFill>
            <a:ln w="75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DA579D-C529-0BE8-BF96-74B75E1B4D23}"/>
                </a:ext>
              </a:extLst>
            </p:cNvPr>
            <p:cNvSpPr>
              <a:spLocks/>
            </p:cNvSpPr>
            <p:nvPr/>
          </p:nvSpPr>
          <p:spPr>
            <a:xfrm>
              <a:off x="7084087" y="5142136"/>
              <a:ext cx="1700332" cy="1721801"/>
            </a:xfrm>
            <a:custGeom>
              <a:avLst/>
              <a:gdLst>
                <a:gd name="connsiteX0" fmla="*/ -897 w 1684238"/>
                <a:gd name="connsiteY0" fmla="*/ -1004 h 1693285"/>
                <a:gd name="connsiteX1" fmla="*/ 1683342 w 1684238"/>
                <a:gd name="connsiteY1" fmla="*/ -1004 h 1693285"/>
                <a:gd name="connsiteX2" fmla="*/ 1683342 w 1684238"/>
                <a:gd name="connsiteY2" fmla="*/ 1692282 h 1693285"/>
                <a:gd name="connsiteX3" fmla="*/ -897 w 1684238"/>
                <a:gd name="connsiteY3" fmla="*/ 1692282 h 169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4238" h="1693285">
                  <a:moveTo>
                    <a:pt x="-897" y="-1004"/>
                  </a:moveTo>
                  <a:lnTo>
                    <a:pt x="1683342" y="-1004"/>
                  </a:lnTo>
                  <a:lnTo>
                    <a:pt x="1683342" y="1692282"/>
                  </a:lnTo>
                  <a:lnTo>
                    <a:pt x="-897" y="1692282"/>
                  </a:lnTo>
                  <a:close/>
                </a:path>
              </a:pathLst>
            </a:custGeom>
            <a:solidFill>
              <a:srgbClr val="00A0CC"/>
            </a:solidFill>
            <a:ln w="74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23F4930-3934-24D8-B9FF-C8B726923E3F}"/>
              </a:ext>
            </a:extLst>
          </p:cNvPr>
          <p:cNvSpPr/>
          <p:nvPr/>
        </p:nvSpPr>
        <p:spPr>
          <a:xfrm>
            <a:off x="7083183" y="5917805"/>
            <a:ext cx="792199" cy="945128"/>
          </a:xfrm>
          <a:custGeom>
            <a:avLst/>
            <a:gdLst>
              <a:gd name="connsiteX0" fmla="*/ 905 w 792199"/>
              <a:gd name="connsiteY0" fmla="*/ 0 h 945128"/>
              <a:gd name="connsiteX1" fmla="*/ 792199 w 792199"/>
              <a:gd name="connsiteY1" fmla="*/ 791294 h 945128"/>
              <a:gd name="connsiteX2" fmla="*/ 788114 w 792199"/>
              <a:gd name="connsiteY2" fmla="*/ 872200 h 945128"/>
              <a:gd name="connsiteX3" fmla="*/ 776984 w 792199"/>
              <a:gd name="connsiteY3" fmla="*/ 945128 h 945128"/>
              <a:gd name="connsiteX4" fmla="*/ 0 w 792199"/>
              <a:gd name="connsiteY4" fmla="*/ 945128 h 945128"/>
              <a:gd name="connsiteX5" fmla="*/ 0 w 792199"/>
              <a:gd name="connsiteY5" fmla="*/ 46 h 94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199" h="945128">
                <a:moveTo>
                  <a:pt x="905" y="0"/>
                </a:moveTo>
                <a:cubicBezTo>
                  <a:pt x="437925" y="0"/>
                  <a:pt x="792199" y="354274"/>
                  <a:pt x="792199" y="791294"/>
                </a:cubicBezTo>
                <a:cubicBezTo>
                  <a:pt x="792199" y="818608"/>
                  <a:pt x="790815" y="845599"/>
                  <a:pt x="788114" y="872200"/>
                </a:cubicBezTo>
                <a:lnTo>
                  <a:pt x="776984" y="945128"/>
                </a:lnTo>
                <a:lnTo>
                  <a:pt x="0" y="945128"/>
                </a:lnTo>
                <a:lnTo>
                  <a:pt x="0" y="46"/>
                </a:lnTo>
                <a:close/>
              </a:path>
            </a:pathLst>
          </a:custGeom>
          <a:solidFill>
            <a:srgbClr val="4A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E5D0299-1DC4-DA56-23B2-D192A36FBFE8}"/>
              </a:ext>
            </a:extLst>
          </p:cNvPr>
          <p:cNvSpPr txBox="1"/>
          <p:nvPr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N°›</a:t>
            </a:fld>
            <a:endParaRPr lang="en-US" sz="900" dirty="0">
              <a:solidFill>
                <a:srgbClr val="22272B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7" name="TextBox 46">
            <a:hlinkClick r:id="rId5"/>
            <a:extLst>
              <a:ext uri="{FF2B5EF4-FFF2-40B4-BE49-F238E27FC236}">
                <a16:creationId xmlns:a16="http://schemas.microsoft.com/office/drawing/2014/main" id="{E0183100-200E-A087-440D-5F15D0090D08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 dirty="0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</a:rPr>
              <a:t>axway.com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6C8360-24D8-A0AE-413D-747BA47FA0F5}"/>
              </a:ext>
            </a:extLst>
          </p:cNvPr>
          <p:cNvGrpSpPr/>
          <p:nvPr userDrawn="1"/>
        </p:nvGrpSpPr>
        <p:grpSpPr>
          <a:xfrm>
            <a:off x="762000" y="1143000"/>
            <a:ext cx="838200" cy="1143000"/>
            <a:chOff x="762000" y="1143000"/>
            <a:chExt cx="838200" cy="114300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7A3D5E2A-EA04-4AAE-9CFF-88D84ED9973A}"/>
                </a:ext>
              </a:extLst>
            </p:cNvPr>
            <p:cNvSpPr/>
            <p:nvPr userDrawn="1"/>
          </p:nvSpPr>
          <p:spPr>
            <a:xfrm>
              <a:off x="762000" y="1143000"/>
              <a:ext cx="762000" cy="762000"/>
            </a:xfrm>
            <a:prstGeom prst="roundRect">
              <a:avLst>
                <a:gd name="adj" fmla="val 12303"/>
              </a:avLst>
            </a:prstGeom>
            <a:solidFill>
              <a:srgbClr val="0065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Content Placeholder 14">
              <a:extLst>
                <a:ext uri="{FF2B5EF4-FFF2-40B4-BE49-F238E27FC236}">
                  <a16:creationId xmlns:a16="http://schemas.microsoft.com/office/drawing/2014/main" id="{09075359-2EFE-DBEF-7AC6-2C5698FAB89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0600" y="1752600"/>
              <a:ext cx="609600" cy="533400"/>
            </a:xfrm>
            <a:prstGeom prst="rect">
              <a:avLst/>
            </a:prstGeom>
          </p:spPr>
          <p:txBody>
            <a:bodyPr lIns="0" tIns="0" rIns="0" bIns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2200"/>
                </a:lnSpc>
                <a:spcBef>
                  <a:spcPts val="0"/>
                </a:spcBef>
              </a:pPr>
              <a:r>
                <a:rPr lang="en-GB" sz="5400">
                  <a:solidFill>
                    <a:schemeClr val="bg1"/>
                  </a:solidFill>
                  <a:latin typeface="Roboto Medium" panose="02000000000000000000" pitchFamily="2" charset="0"/>
                  <a:ea typeface="Roboto Medium" panose="02000000000000000000" pitchFamily="2" charset="0"/>
                </a:rPr>
                <a:t>“</a:t>
              </a:r>
              <a:endParaRPr lang="en-US" sz="54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863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Axway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59776A6-42CD-EB0F-D617-B4681BA798B1}"/>
              </a:ext>
            </a:extLst>
          </p:cNvPr>
          <p:cNvSpPr/>
          <p:nvPr userDrawn="1"/>
        </p:nvSpPr>
        <p:spPr>
          <a:xfrm>
            <a:off x="-1" y="0"/>
            <a:ext cx="7173157" cy="6858000"/>
          </a:xfrm>
          <a:prstGeom prst="rect">
            <a:avLst/>
          </a:prstGeom>
          <a:solidFill>
            <a:srgbClr val="F3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C4A1AEBD-519D-4DA9-9F30-586852FE78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323705" y="2451741"/>
            <a:ext cx="5602797" cy="296696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7095804-5782-924B-80CE-0391EDE6BF23}"/>
              </a:ext>
            </a:extLst>
          </p:cNvPr>
          <p:cNvSpPr txBox="1"/>
          <p:nvPr userDrawn="1"/>
        </p:nvSpPr>
        <p:spPr>
          <a:xfrm>
            <a:off x="7510508" y="546694"/>
            <a:ext cx="4109991" cy="549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800" b="0" dirty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Listed on Euronext (AXW.PA)</a:t>
            </a:r>
            <a:br>
              <a:rPr lang="en-US" sz="1600" dirty="0">
                <a:solidFill>
                  <a:schemeClr val="accent1"/>
                </a:solidFill>
                <a:latin typeface="+mn-lt"/>
              </a:rPr>
            </a:br>
            <a:r>
              <a:rPr lang="en-US" sz="1600" b="0" dirty="0">
                <a:solidFill>
                  <a:srgbClr val="22272B"/>
                </a:solidFill>
                <a:latin typeface="+mn-lt"/>
              </a:rPr>
              <a:t>Registered in France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 dirty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Phoenix, Arizona</a:t>
            </a:r>
            <a:br>
              <a:rPr lang="en-US" sz="1600" dirty="0">
                <a:latin typeface="+mn-lt"/>
              </a:rPr>
            </a:br>
            <a:r>
              <a:rPr lang="en-US" sz="1600" b="0" dirty="0">
                <a:solidFill>
                  <a:srgbClr val="22272B"/>
                </a:solidFill>
                <a:latin typeface="+mn-lt"/>
              </a:rPr>
              <a:t>Global headquarters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 dirty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€319M</a:t>
            </a:r>
            <a:br>
              <a:rPr lang="en-US" sz="1600" dirty="0">
                <a:latin typeface="+mn-lt"/>
              </a:rPr>
            </a:br>
            <a:r>
              <a:rPr lang="en-US" sz="1600" b="0" dirty="0">
                <a:solidFill>
                  <a:srgbClr val="22272B"/>
                </a:solidFill>
                <a:latin typeface="+mn-lt"/>
              </a:rPr>
              <a:t>2023 revenue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 dirty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1400+ employees</a:t>
            </a:r>
            <a:br>
              <a:rPr lang="en-US" sz="1600" b="1" dirty="0">
                <a:solidFill>
                  <a:schemeClr val="accent2"/>
                </a:solidFill>
                <a:latin typeface="+mn-lt"/>
              </a:rPr>
            </a:br>
            <a:r>
              <a:rPr lang="en-US" sz="1600" b="0" dirty="0">
                <a:solidFill>
                  <a:srgbClr val="22272B"/>
                </a:solidFill>
                <a:latin typeface="+mn-lt"/>
              </a:rPr>
              <a:t>18 countries worldwide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 dirty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11,000 customers</a:t>
            </a:r>
            <a:br>
              <a:rPr lang="en-US" sz="1600" dirty="0">
                <a:latin typeface="+mn-lt"/>
              </a:rPr>
            </a:br>
            <a:r>
              <a:rPr lang="en-US" sz="1600" b="0" dirty="0">
                <a:solidFill>
                  <a:srgbClr val="22272B"/>
                </a:solidFill>
                <a:latin typeface="+mn-lt"/>
              </a:rPr>
              <a:t>100 countries worldwide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b="0" dirty="0">
                <a:solidFill>
                  <a:schemeClr val="accent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Key industries</a:t>
            </a:r>
            <a:br>
              <a:rPr lang="en-US" sz="1600" dirty="0">
                <a:latin typeface="+mn-lt"/>
              </a:rPr>
            </a:br>
            <a:r>
              <a:rPr lang="en-US" sz="1600" b="0" dirty="0">
                <a:solidFill>
                  <a:srgbClr val="22272B"/>
                </a:solidFill>
                <a:latin typeface="+mn-lt"/>
              </a:rPr>
              <a:t>Banking and financial services, healthcare and pharmaceuticals, energy and utilities, manufacturing, transportation and logistics, government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5A69209-FC80-C856-FC14-E43FE1F03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3704" y="315965"/>
            <a:ext cx="5210261" cy="5984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bout Axwa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9820C3A-D998-5B55-70BA-3B6F292FE1CF}"/>
              </a:ext>
            </a:extLst>
          </p:cNvPr>
          <p:cNvGrpSpPr/>
          <p:nvPr userDrawn="1"/>
        </p:nvGrpSpPr>
        <p:grpSpPr>
          <a:xfrm>
            <a:off x="-6628" y="1"/>
            <a:ext cx="856487" cy="6857999"/>
            <a:chOff x="-6628" y="1"/>
            <a:chExt cx="856487" cy="6857999"/>
          </a:xfrm>
        </p:grpSpPr>
        <p:pic>
          <p:nvPicPr>
            <p:cNvPr id="12" name="Picture 11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1049C030-F67E-1FCB-346E-8E83065434C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-1292884" y="1286257"/>
              <a:ext cx="3429000" cy="856487"/>
            </a:xfrm>
            <a:custGeom>
              <a:avLst/>
              <a:gdLst>
                <a:gd name="connsiteX0" fmla="*/ 0 w 3429000"/>
                <a:gd name="connsiteY0" fmla="*/ 0 h 856487"/>
                <a:gd name="connsiteX1" fmla="*/ 3429000 w 3429000"/>
                <a:gd name="connsiteY1" fmla="*/ 0 h 856487"/>
                <a:gd name="connsiteX2" fmla="*/ 3429000 w 3429000"/>
                <a:gd name="connsiteY2" fmla="*/ 856487 h 856487"/>
                <a:gd name="connsiteX3" fmla="*/ 0 w 3429000"/>
                <a:gd name="connsiteY3" fmla="*/ 856487 h 85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0" h="856487">
                  <a:moveTo>
                    <a:pt x="0" y="0"/>
                  </a:moveTo>
                  <a:lnTo>
                    <a:pt x="3429000" y="0"/>
                  </a:lnTo>
                  <a:lnTo>
                    <a:pt x="3429000" y="856487"/>
                  </a:lnTo>
                  <a:lnTo>
                    <a:pt x="0" y="856487"/>
                  </a:lnTo>
                  <a:close/>
                </a:path>
              </a:pathLst>
            </a:custGeom>
          </p:spPr>
        </p:pic>
        <p:pic>
          <p:nvPicPr>
            <p:cNvPr id="13" name="Picture 12" descr="A blue and white geometric pattern&#10;&#10;Description automatically generated">
              <a:extLst>
                <a:ext uri="{FF2B5EF4-FFF2-40B4-BE49-F238E27FC236}">
                  <a16:creationId xmlns:a16="http://schemas.microsoft.com/office/drawing/2014/main" id="{D669460A-BA9A-4C1B-6647-2F69F411F8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6200000">
              <a:off x="-1292884" y="4715256"/>
              <a:ext cx="3429000" cy="856487"/>
            </a:xfrm>
            <a:custGeom>
              <a:avLst/>
              <a:gdLst>
                <a:gd name="connsiteX0" fmla="*/ 0 w 3429000"/>
                <a:gd name="connsiteY0" fmla="*/ 0 h 856487"/>
                <a:gd name="connsiteX1" fmla="*/ 3429000 w 3429000"/>
                <a:gd name="connsiteY1" fmla="*/ 0 h 856487"/>
                <a:gd name="connsiteX2" fmla="*/ 3429000 w 3429000"/>
                <a:gd name="connsiteY2" fmla="*/ 856487 h 856487"/>
                <a:gd name="connsiteX3" fmla="*/ 0 w 3429000"/>
                <a:gd name="connsiteY3" fmla="*/ 856487 h 85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9000" h="856487">
                  <a:moveTo>
                    <a:pt x="0" y="0"/>
                  </a:moveTo>
                  <a:lnTo>
                    <a:pt x="3429000" y="0"/>
                  </a:lnTo>
                  <a:lnTo>
                    <a:pt x="3429000" y="856487"/>
                  </a:lnTo>
                  <a:lnTo>
                    <a:pt x="0" y="856487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109665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Axway_Dev_Timelin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CFDDE63-1930-9CC0-8086-D818BBB3F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2272B"/>
                </a:solidFill>
              </a:defRPr>
            </a:lvl1pPr>
          </a:lstStyle>
          <a:p>
            <a:r>
              <a:rPr lang="en-US" dirty="0"/>
              <a:t>20+ years supporting our customers’ goal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A0737E4-015C-2CCD-E942-39F9AFA3E120}"/>
              </a:ext>
            </a:extLst>
          </p:cNvPr>
          <p:cNvGrpSpPr/>
          <p:nvPr userDrawn="1"/>
        </p:nvGrpSpPr>
        <p:grpSpPr>
          <a:xfrm>
            <a:off x="470747" y="1041512"/>
            <a:ext cx="11300177" cy="5892688"/>
            <a:chOff x="470747" y="1041512"/>
            <a:chExt cx="11300177" cy="5892688"/>
          </a:xfrm>
        </p:grpSpPr>
        <p:sp>
          <p:nvSpPr>
            <p:cNvPr id="4" name="Freeform 36">
              <a:extLst>
                <a:ext uri="{FF2B5EF4-FFF2-40B4-BE49-F238E27FC236}">
                  <a16:creationId xmlns:a16="http://schemas.microsoft.com/office/drawing/2014/main" id="{9A88E88A-5FA9-92B4-6497-5840821A1C14}"/>
                </a:ext>
              </a:extLst>
            </p:cNvPr>
            <p:cNvSpPr/>
            <p:nvPr/>
          </p:nvSpPr>
          <p:spPr>
            <a:xfrm>
              <a:off x="10433359" y="1323474"/>
              <a:ext cx="616443" cy="4803006"/>
            </a:xfrm>
            <a:custGeom>
              <a:avLst/>
              <a:gdLst>
                <a:gd name="connsiteX0" fmla="*/ 426 w 616443"/>
                <a:gd name="connsiteY0" fmla="*/ 553452 h 4803006"/>
                <a:gd name="connsiteX1" fmla="*/ 616443 w 616443"/>
                <a:gd name="connsiteY1" fmla="*/ 0 h 4803006"/>
                <a:gd name="connsiteX2" fmla="*/ 616443 w 616443"/>
                <a:gd name="connsiteY2" fmla="*/ 4788568 h 4803006"/>
                <a:gd name="connsiteX3" fmla="*/ 5239 w 616443"/>
                <a:gd name="connsiteY3" fmla="*/ 4803006 h 4803006"/>
                <a:gd name="connsiteX4" fmla="*/ 426 w 616443"/>
                <a:gd name="connsiteY4" fmla="*/ 553452 h 480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443" h="4803006">
                  <a:moveTo>
                    <a:pt x="426" y="553452"/>
                  </a:moveTo>
                  <a:lnTo>
                    <a:pt x="616443" y="0"/>
                  </a:lnTo>
                  <a:lnTo>
                    <a:pt x="616443" y="4788568"/>
                  </a:lnTo>
                  <a:lnTo>
                    <a:pt x="5239" y="4803006"/>
                  </a:lnTo>
                  <a:cubicBezTo>
                    <a:pt x="2031" y="3391301"/>
                    <a:pt x="-1178" y="1979595"/>
                    <a:pt x="426" y="553452"/>
                  </a:cubicBezTo>
                  <a:close/>
                </a:path>
              </a:pathLst>
            </a:custGeom>
            <a:solidFill>
              <a:srgbClr val="B6ECEA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A761DBF-F8BC-F1B4-0F53-D06D118216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1931" y="1041512"/>
              <a:ext cx="11048993" cy="5524497"/>
            </a:xfrm>
            <a:prstGeom prst="rect">
              <a:avLst/>
            </a:prstGeom>
            <a:effectLst>
              <a:outerShdw algn="ctr" rotWithShape="0">
                <a:srgbClr val="000000"/>
              </a:outerShdw>
            </a:effec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3CFE0E6-5598-DE03-2B72-CF0E516B3C52}"/>
                </a:ext>
              </a:extLst>
            </p:cNvPr>
            <p:cNvSpPr/>
            <p:nvPr/>
          </p:nvSpPr>
          <p:spPr>
            <a:xfrm>
              <a:off x="1780107" y="1491303"/>
              <a:ext cx="2226498" cy="989045"/>
            </a:xfrm>
            <a:prstGeom prst="rect">
              <a:avLst/>
            </a:prstGeom>
            <a:solidFill>
              <a:srgbClr val="EBEB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A92145F-649B-C848-9C09-322BA54AC2F3}"/>
                </a:ext>
              </a:extLst>
            </p:cNvPr>
            <p:cNvGrpSpPr/>
            <p:nvPr/>
          </p:nvGrpSpPr>
          <p:grpSpPr>
            <a:xfrm>
              <a:off x="470747" y="1302894"/>
              <a:ext cx="9989885" cy="5631306"/>
              <a:chOff x="177943" y="272615"/>
              <a:chExt cx="9912814" cy="5666205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73EB1B24-CB68-1161-D232-94EB9535672D}"/>
                  </a:ext>
                </a:extLst>
              </p:cNvPr>
              <p:cNvGrpSpPr/>
              <p:nvPr/>
            </p:nvGrpSpPr>
            <p:grpSpPr>
              <a:xfrm>
                <a:off x="177943" y="272615"/>
                <a:ext cx="9912814" cy="5666205"/>
                <a:chOff x="150055" y="1425743"/>
                <a:chExt cx="9640435" cy="5160109"/>
              </a:xfrm>
            </p:grpSpPr>
            <p:grpSp>
              <p:nvGrpSpPr>
                <p:cNvPr id="20" name="Groupe 10">
                  <a:extLst>
                    <a:ext uri="{FF2B5EF4-FFF2-40B4-BE49-F238E27FC236}">
                      <a16:creationId xmlns:a16="http://schemas.microsoft.com/office/drawing/2014/main" id="{BDF474F2-DC71-42AD-A622-3DF93BC2BC65}"/>
                    </a:ext>
                  </a:extLst>
                </p:cNvPr>
                <p:cNvGrpSpPr/>
                <p:nvPr/>
              </p:nvGrpSpPr>
              <p:grpSpPr>
                <a:xfrm>
                  <a:off x="6822947" y="1637520"/>
                  <a:ext cx="923759" cy="760971"/>
                  <a:chOff x="3534347" y="3582291"/>
                  <a:chExt cx="934271" cy="780100"/>
                </a:xfrm>
              </p:grpSpPr>
              <p:sp>
                <p:nvSpPr>
                  <p:cNvPr id="79" name="TextBox 43">
                    <a:extLst>
                      <a:ext uri="{FF2B5EF4-FFF2-40B4-BE49-F238E27FC236}">
                        <a16:creationId xmlns:a16="http://schemas.microsoft.com/office/drawing/2014/main" id="{0FE4E9D8-708D-ED01-725D-516ED838B666}"/>
                      </a:ext>
                    </a:extLst>
                  </p:cNvPr>
                  <p:cNvSpPr txBox="1"/>
                  <p:nvPr/>
                </p:nvSpPr>
                <p:spPr>
                  <a:xfrm>
                    <a:off x="3554218" y="4079166"/>
                    <a:ext cx="914400" cy="283225"/>
                  </a:xfrm>
                  <a:prstGeom prst="rect">
                    <a:avLst/>
                  </a:prstGeom>
                </p:spPr>
                <p:txBody>
                  <a:bodyPr wrap="none" rtlCol="0">
                    <a:noAutofit/>
                  </a:bodyPr>
                  <a:lstStyle/>
                  <a:p>
                    <a:pPr algn="ctr" defTabSz="914377"/>
                    <a:r>
                      <a:rPr lang="fr-FR" sz="950" b="1" kern="0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16</a:t>
                    </a:r>
                    <a:endParaRPr lang="en-US" sz="950" b="1" kern="0" dirty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endParaRPr>
                  </a:p>
                </p:txBody>
              </p:sp>
              <p:pic>
                <p:nvPicPr>
                  <p:cNvPr id="80" name="Image 152">
                    <a:extLst>
                      <a:ext uri="{FF2B5EF4-FFF2-40B4-BE49-F238E27FC236}">
                        <a16:creationId xmlns:a16="http://schemas.microsoft.com/office/drawing/2014/main" id="{BAE9377E-79B8-C372-7F2B-E3DD8A65BA4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534347" y="3582291"/>
                    <a:ext cx="914400" cy="342901"/>
                  </a:xfrm>
                  <a:prstGeom prst="rect">
                    <a:avLst/>
                  </a:prstGeom>
                </p:spPr>
              </p:pic>
            </p:grpSp>
            <p:cxnSp>
              <p:nvCxnSpPr>
                <p:cNvPr id="21" name="Connecteur droit 71">
                  <a:extLst>
                    <a:ext uri="{FF2B5EF4-FFF2-40B4-BE49-F238E27FC236}">
                      <a16:creationId xmlns:a16="http://schemas.microsoft.com/office/drawing/2014/main" id="{E4803F09-2D87-55F7-AA67-ACA05898B5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497081" y="5236051"/>
                  <a:ext cx="60042" cy="832175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Connecteur droit 72">
                  <a:extLst>
                    <a:ext uri="{FF2B5EF4-FFF2-40B4-BE49-F238E27FC236}">
                      <a16:creationId xmlns:a16="http://schemas.microsoft.com/office/drawing/2014/main" id="{AC53234A-A791-CDEC-DD2A-1339978B2B5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890098" y="5025905"/>
                  <a:ext cx="0" cy="1506149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Connecteur droit 73">
                  <a:extLst>
                    <a:ext uri="{FF2B5EF4-FFF2-40B4-BE49-F238E27FC236}">
                      <a16:creationId xmlns:a16="http://schemas.microsoft.com/office/drawing/2014/main" id="{B9437F67-7BE4-12CA-EAEE-3E41DE194A8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36948" y="3874782"/>
                  <a:ext cx="0" cy="2711070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Connecteur droit 74">
                  <a:extLst>
                    <a:ext uri="{FF2B5EF4-FFF2-40B4-BE49-F238E27FC236}">
                      <a16:creationId xmlns:a16="http://schemas.microsoft.com/office/drawing/2014/main" id="{691FC83E-084D-B887-B5DB-42954E7436B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364762" y="3408230"/>
                  <a:ext cx="0" cy="3112710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Connecteur droit 75">
                  <a:extLst>
                    <a:ext uri="{FF2B5EF4-FFF2-40B4-BE49-F238E27FC236}">
                      <a16:creationId xmlns:a16="http://schemas.microsoft.com/office/drawing/2014/main" id="{7071A0E6-C13E-DAC1-E1ED-FDA185F6CF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790490" y="2658783"/>
                  <a:ext cx="0" cy="3865784"/>
                </a:xfrm>
                <a:prstGeom prst="line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grpSp>
              <p:nvGrpSpPr>
                <p:cNvPr id="26" name="Groupe 12">
                  <a:extLst>
                    <a:ext uri="{FF2B5EF4-FFF2-40B4-BE49-F238E27FC236}">
                      <a16:creationId xmlns:a16="http://schemas.microsoft.com/office/drawing/2014/main" id="{150145AB-968A-C252-79B1-8CC5923EE3AB}"/>
                    </a:ext>
                  </a:extLst>
                </p:cNvPr>
                <p:cNvGrpSpPr/>
                <p:nvPr/>
              </p:nvGrpSpPr>
              <p:grpSpPr>
                <a:xfrm>
                  <a:off x="4051862" y="3759735"/>
                  <a:ext cx="593384" cy="583489"/>
                  <a:chOff x="4750211" y="4777586"/>
                  <a:chExt cx="600136" cy="598158"/>
                </a:xfrm>
              </p:grpSpPr>
              <p:pic>
                <p:nvPicPr>
                  <p:cNvPr id="77" name="Image 68">
                    <a:extLst>
                      <a:ext uri="{FF2B5EF4-FFF2-40B4-BE49-F238E27FC236}">
                        <a16:creationId xmlns:a16="http://schemas.microsoft.com/office/drawing/2014/main" id="{7010C4EB-3503-47D8-E908-F365FF6483C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4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4750211" y="4777586"/>
                    <a:ext cx="600136" cy="173233"/>
                  </a:xfrm>
                  <a:prstGeom prst="rect">
                    <a:avLst/>
                  </a:prstGeom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</a:effectLst>
                </p:spPr>
              </p:pic>
              <p:sp>
                <p:nvSpPr>
                  <p:cNvPr id="78" name="ZoneTexte 69">
                    <a:extLst>
                      <a:ext uri="{FF2B5EF4-FFF2-40B4-BE49-F238E27FC236}">
                        <a16:creationId xmlns:a16="http://schemas.microsoft.com/office/drawing/2014/main" id="{2168D971-1C3E-727B-50F2-43BD1E7AF904}"/>
                      </a:ext>
                    </a:extLst>
                  </p:cNvPr>
                  <p:cNvSpPr txBox="1"/>
                  <p:nvPr/>
                </p:nvSpPr>
                <p:spPr>
                  <a:xfrm>
                    <a:off x="4767402" y="5145877"/>
                    <a:ext cx="526462" cy="22986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06</a:t>
                    </a:r>
                  </a:p>
                </p:txBody>
              </p:sp>
            </p:grpSp>
            <p:grpSp>
              <p:nvGrpSpPr>
                <p:cNvPr id="27" name="Groupe 13">
                  <a:extLst>
                    <a:ext uri="{FF2B5EF4-FFF2-40B4-BE49-F238E27FC236}">
                      <a16:creationId xmlns:a16="http://schemas.microsoft.com/office/drawing/2014/main" id="{E13AA598-FE77-AAA4-DD40-253169F4B766}"/>
                    </a:ext>
                  </a:extLst>
                </p:cNvPr>
                <p:cNvGrpSpPr/>
                <p:nvPr/>
              </p:nvGrpSpPr>
              <p:grpSpPr>
                <a:xfrm>
                  <a:off x="2864776" y="4262383"/>
                  <a:ext cx="641675" cy="717517"/>
                  <a:chOff x="3950779" y="4546979"/>
                  <a:chExt cx="648977" cy="735555"/>
                </a:xfrm>
              </p:grpSpPr>
              <p:pic>
                <p:nvPicPr>
                  <p:cNvPr id="75" name="Image 66">
                    <a:extLst>
                      <a:ext uri="{FF2B5EF4-FFF2-40B4-BE49-F238E27FC236}">
                        <a16:creationId xmlns:a16="http://schemas.microsoft.com/office/drawing/2014/main" id="{42A788DA-B007-4F16-82CD-D10D852479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950779" y="4546979"/>
                    <a:ext cx="648977" cy="309662"/>
                  </a:xfrm>
                  <a:prstGeom prst="rect">
                    <a:avLst/>
                  </a:prstGeom>
                </p:spPr>
              </p:pic>
              <p:sp>
                <p:nvSpPr>
                  <p:cNvPr id="76" name="ZoneTexte 67">
                    <a:extLst>
                      <a:ext uri="{FF2B5EF4-FFF2-40B4-BE49-F238E27FC236}">
                        <a16:creationId xmlns:a16="http://schemas.microsoft.com/office/drawing/2014/main" id="{335BC1A3-653F-88D5-7E1C-692F53D6F76F}"/>
                      </a:ext>
                    </a:extLst>
                  </p:cNvPr>
                  <p:cNvSpPr txBox="1"/>
                  <p:nvPr/>
                </p:nvSpPr>
                <p:spPr>
                  <a:xfrm>
                    <a:off x="3973001" y="5052668"/>
                    <a:ext cx="542804" cy="22986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02</a:t>
                    </a:r>
                  </a:p>
                </p:txBody>
              </p:sp>
            </p:grpSp>
            <p:grpSp>
              <p:nvGrpSpPr>
                <p:cNvPr id="28" name="Groupe 14">
                  <a:extLst>
                    <a:ext uri="{FF2B5EF4-FFF2-40B4-BE49-F238E27FC236}">
                      <a16:creationId xmlns:a16="http://schemas.microsoft.com/office/drawing/2014/main" id="{B696837A-A47E-C858-6298-900DF6D9D10D}"/>
                    </a:ext>
                  </a:extLst>
                </p:cNvPr>
                <p:cNvGrpSpPr/>
                <p:nvPr/>
              </p:nvGrpSpPr>
              <p:grpSpPr>
                <a:xfrm>
                  <a:off x="4500521" y="4237741"/>
                  <a:ext cx="566726" cy="368457"/>
                  <a:chOff x="4554542" y="4550066"/>
                  <a:chExt cx="573176" cy="377717"/>
                </a:xfrm>
              </p:grpSpPr>
              <p:pic>
                <p:nvPicPr>
                  <p:cNvPr id="73" name="Image 64">
                    <a:extLst>
                      <a:ext uri="{FF2B5EF4-FFF2-40B4-BE49-F238E27FC236}">
                        <a16:creationId xmlns:a16="http://schemas.microsoft.com/office/drawing/2014/main" id="{9092ED17-3690-820E-1849-60706A39E99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612336" y="4753888"/>
                    <a:ext cx="480769" cy="173895"/>
                  </a:xfrm>
                  <a:prstGeom prst="rect">
                    <a:avLst/>
                  </a:prstGeom>
                </p:spPr>
              </p:pic>
              <p:sp>
                <p:nvSpPr>
                  <p:cNvPr id="74" name="ZoneTexte 65">
                    <a:extLst>
                      <a:ext uri="{FF2B5EF4-FFF2-40B4-BE49-F238E27FC236}">
                        <a16:creationId xmlns:a16="http://schemas.microsoft.com/office/drawing/2014/main" id="{142AF534-5D64-1C13-3776-55D7C7137FEF}"/>
                      </a:ext>
                    </a:extLst>
                  </p:cNvPr>
                  <p:cNvSpPr txBox="1"/>
                  <p:nvPr/>
                </p:nvSpPr>
                <p:spPr>
                  <a:xfrm>
                    <a:off x="4554542" y="4550066"/>
                    <a:ext cx="573176" cy="22986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07</a:t>
                    </a:r>
                  </a:p>
                </p:txBody>
              </p:sp>
            </p:grpSp>
            <p:grpSp>
              <p:nvGrpSpPr>
                <p:cNvPr id="29" name="Groupe 15">
                  <a:extLst>
                    <a:ext uri="{FF2B5EF4-FFF2-40B4-BE49-F238E27FC236}">
                      <a16:creationId xmlns:a16="http://schemas.microsoft.com/office/drawing/2014/main" id="{BCCAE0D9-0076-E44D-98FC-31E97AA99998}"/>
                    </a:ext>
                  </a:extLst>
                </p:cNvPr>
                <p:cNvGrpSpPr/>
                <p:nvPr/>
              </p:nvGrpSpPr>
              <p:grpSpPr>
                <a:xfrm>
                  <a:off x="4687988" y="2983280"/>
                  <a:ext cx="628850" cy="670875"/>
                  <a:chOff x="5628658" y="4062145"/>
                  <a:chExt cx="636006" cy="687738"/>
                </a:xfrm>
              </p:grpSpPr>
              <p:pic>
                <p:nvPicPr>
                  <p:cNvPr id="71" name="Image 62">
                    <a:extLst>
                      <a:ext uri="{FF2B5EF4-FFF2-40B4-BE49-F238E27FC236}">
                        <a16:creationId xmlns:a16="http://schemas.microsoft.com/office/drawing/2014/main" id="{278AB083-407C-0367-C769-AFDA191018F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7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5628658" y="4062145"/>
                    <a:ext cx="636006" cy="216589"/>
                  </a:xfrm>
                  <a:prstGeom prst="rect">
                    <a:avLst/>
                  </a:prstGeom>
                </p:spPr>
              </p:pic>
              <p:sp>
                <p:nvSpPr>
                  <p:cNvPr id="72" name="ZoneTexte 63">
                    <a:extLst>
                      <a:ext uri="{FF2B5EF4-FFF2-40B4-BE49-F238E27FC236}">
                        <a16:creationId xmlns:a16="http://schemas.microsoft.com/office/drawing/2014/main" id="{6DE03E82-8899-B992-8DB5-42E37553DD2D}"/>
                      </a:ext>
                    </a:extLst>
                  </p:cNvPr>
                  <p:cNvSpPr txBox="1"/>
                  <p:nvPr/>
                </p:nvSpPr>
                <p:spPr>
                  <a:xfrm>
                    <a:off x="5675858" y="4520018"/>
                    <a:ext cx="538340" cy="2298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08</a:t>
                    </a:r>
                  </a:p>
                </p:txBody>
              </p:sp>
            </p:grpSp>
            <p:grpSp>
              <p:nvGrpSpPr>
                <p:cNvPr id="30" name="Groupe 16">
                  <a:extLst>
                    <a:ext uri="{FF2B5EF4-FFF2-40B4-BE49-F238E27FC236}">
                      <a16:creationId xmlns:a16="http://schemas.microsoft.com/office/drawing/2014/main" id="{F316836C-4B55-9DF4-FC2A-C3E15D0FE322}"/>
                    </a:ext>
                  </a:extLst>
                </p:cNvPr>
                <p:cNvGrpSpPr/>
                <p:nvPr/>
              </p:nvGrpSpPr>
              <p:grpSpPr>
                <a:xfrm>
                  <a:off x="6552653" y="2830747"/>
                  <a:ext cx="750964" cy="360028"/>
                  <a:chOff x="5627409" y="3135345"/>
                  <a:chExt cx="759509" cy="369079"/>
                </a:xfrm>
              </p:grpSpPr>
              <p:pic>
                <p:nvPicPr>
                  <p:cNvPr id="69" name="Picture 2" descr="Logo: Systar">
                    <a:extLst>
                      <a:ext uri="{FF2B5EF4-FFF2-40B4-BE49-F238E27FC236}">
                        <a16:creationId xmlns:a16="http://schemas.microsoft.com/office/drawing/2014/main" id="{564050DF-510E-9B11-0904-BBAFD484D30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8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5627409" y="3315912"/>
                    <a:ext cx="759509" cy="188512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70" name="ZoneTexte 61">
                    <a:extLst>
                      <a:ext uri="{FF2B5EF4-FFF2-40B4-BE49-F238E27FC236}">
                        <a16:creationId xmlns:a16="http://schemas.microsoft.com/office/drawing/2014/main" id="{C57F5A47-DD89-7E7F-C580-E66F42DAA50E}"/>
                      </a:ext>
                    </a:extLst>
                  </p:cNvPr>
                  <p:cNvSpPr txBox="1"/>
                  <p:nvPr/>
                </p:nvSpPr>
                <p:spPr>
                  <a:xfrm>
                    <a:off x="5646209" y="3135345"/>
                    <a:ext cx="607931" cy="2298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14</a:t>
                    </a:r>
                  </a:p>
                </p:txBody>
              </p:sp>
            </p:grpSp>
            <p:sp>
              <p:nvSpPr>
                <p:cNvPr id="31" name="ZoneTexte 59">
                  <a:extLst>
                    <a:ext uri="{FF2B5EF4-FFF2-40B4-BE49-F238E27FC236}">
                      <a16:creationId xmlns:a16="http://schemas.microsoft.com/office/drawing/2014/main" id="{47C7B5E9-F671-54E4-951D-797F226C77F2}"/>
                    </a:ext>
                  </a:extLst>
                </p:cNvPr>
                <p:cNvSpPr txBox="1"/>
                <p:nvPr/>
              </p:nvSpPr>
              <p:spPr>
                <a:xfrm>
                  <a:off x="5804306" y="2940248"/>
                  <a:ext cx="628849" cy="2242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/>
                  <a:r>
                    <a:rPr lang="en-GB" sz="950" b="1" kern="0" dirty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2012</a:t>
                  </a:r>
                </a:p>
              </p:txBody>
            </p:sp>
            <p:grpSp>
              <p:nvGrpSpPr>
                <p:cNvPr id="32" name="Groupe 18">
                  <a:extLst>
                    <a:ext uri="{FF2B5EF4-FFF2-40B4-BE49-F238E27FC236}">
                      <a16:creationId xmlns:a16="http://schemas.microsoft.com/office/drawing/2014/main" id="{E049487F-E644-9B92-F419-8C7353A26350}"/>
                    </a:ext>
                  </a:extLst>
                </p:cNvPr>
                <p:cNvGrpSpPr/>
                <p:nvPr/>
              </p:nvGrpSpPr>
              <p:grpSpPr>
                <a:xfrm>
                  <a:off x="7401568" y="2421887"/>
                  <a:ext cx="573491" cy="358458"/>
                  <a:chOff x="6354961" y="2578009"/>
                  <a:chExt cx="580017" cy="367466"/>
                </a:xfrm>
              </p:grpSpPr>
              <p:pic>
                <p:nvPicPr>
                  <p:cNvPr id="67" name="Image 56">
                    <a:extLst>
                      <a:ext uri="{FF2B5EF4-FFF2-40B4-BE49-F238E27FC236}">
                        <a16:creationId xmlns:a16="http://schemas.microsoft.com/office/drawing/2014/main" id="{18F8D8AD-765E-C3F3-AEA3-77E54D03484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354961" y="2794939"/>
                    <a:ext cx="580017" cy="150536"/>
                  </a:xfrm>
                  <a:prstGeom prst="rect">
                    <a:avLst/>
                  </a:prstGeom>
                </p:spPr>
              </p:pic>
              <p:sp>
                <p:nvSpPr>
                  <p:cNvPr id="68" name="ZoneTexte 57">
                    <a:extLst>
                      <a:ext uri="{FF2B5EF4-FFF2-40B4-BE49-F238E27FC236}">
                        <a16:creationId xmlns:a16="http://schemas.microsoft.com/office/drawing/2014/main" id="{C88EFCB5-D380-94DB-9BBF-AAF997F720E4}"/>
                      </a:ext>
                    </a:extLst>
                  </p:cNvPr>
                  <p:cNvSpPr txBox="1"/>
                  <p:nvPr/>
                </p:nvSpPr>
                <p:spPr>
                  <a:xfrm>
                    <a:off x="6383928" y="2578009"/>
                    <a:ext cx="533204" cy="2298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17</a:t>
                    </a:r>
                  </a:p>
                </p:txBody>
              </p:sp>
            </p:grpSp>
            <p:sp>
              <p:nvSpPr>
                <p:cNvPr id="33" name="ZoneTexte 19">
                  <a:extLst>
                    <a:ext uri="{FF2B5EF4-FFF2-40B4-BE49-F238E27FC236}">
                      <a16:creationId xmlns:a16="http://schemas.microsoft.com/office/drawing/2014/main" id="{8C4B3365-90A2-7FA0-7D92-A915BA633436}"/>
                    </a:ext>
                  </a:extLst>
                </p:cNvPr>
                <p:cNvSpPr txBox="1"/>
                <p:nvPr/>
              </p:nvSpPr>
              <p:spPr>
                <a:xfrm>
                  <a:off x="1676197" y="5498162"/>
                  <a:ext cx="818907" cy="319626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spAutoFit/>
                </a:bodyPr>
                <a:lstStyle/>
                <a:p>
                  <a:pPr algn="ctr" defTabSz="914377">
                    <a:lnSpc>
                      <a:spcPts val="1025"/>
                    </a:lnSpc>
                  </a:pPr>
                  <a:r>
                    <a:rPr lang="en-GB" sz="900" kern="0" dirty="0">
                      <a:solidFill>
                        <a:srgbClr val="464648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Incubation</a:t>
                  </a:r>
                  <a:br>
                    <a:rPr lang="en-GB" sz="900" kern="0" dirty="0">
                      <a:solidFill>
                        <a:srgbClr val="464648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</a:br>
                  <a:r>
                    <a:rPr lang="en-GB" sz="900" kern="0" dirty="0">
                      <a:solidFill>
                        <a:srgbClr val="464648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within Sopra</a:t>
                  </a:r>
                </a:p>
              </p:txBody>
            </p:sp>
            <p:pic>
              <p:nvPicPr>
                <p:cNvPr id="34" name="Picture 4">
                  <a:extLst>
                    <a:ext uri="{FF2B5EF4-FFF2-40B4-BE49-F238E27FC236}">
                      <a16:creationId xmlns:a16="http://schemas.microsoft.com/office/drawing/2014/main" id="{C65DF00B-0740-51C0-679A-5FBE3017E71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73238" y="4615545"/>
                  <a:ext cx="264768" cy="1561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35" name="Picture 4">
                  <a:extLst>
                    <a:ext uri="{FF2B5EF4-FFF2-40B4-BE49-F238E27FC236}">
                      <a16:creationId xmlns:a16="http://schemas.microsoft.com/office/drawing/2014/main" id="{54E775D7-0AD9-9C43-65F1-7210CBFB779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57040" y="3969626"/>
                  <a:ext cx="264768" cy="1561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36" name="Picture 4">
                  <a:extLst>
                    <a:ext uri="{FF2B5EF4-FFF2-40B4-BE49-F238E27FC236}">
                      <a16:creationId xmlns:a16="http://schemas.microsoft.com/office/drawing/2014/main" id="{E89EA216-2B21-150C-9659-1A084556711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10824" y="3278719"/>
                  <a:ext cx="264768" cy="14923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37" name="Groupe 29">
                  <a:extLst>
                    <a:ext uri="{FF2B5EF4-FFF2-40B4-BE49-F238E27FC236}">
                      <a16:creationId xmlns:a16="http://schemas.microsoft.com/office/drawing/2014/main" id="{9F87DD49-0E98-D899-5E1A-E984097B3E1A}"/>
                    </a:ext>
                  </a:extLst>
                </p:cNvPr>
                <p:cNvGrpSpPr/>
                <p:nvPr/>
              </p:nvGrpSpPr>
              <p:grpSpPr>
                <a:xfrm>
                  <a:off x="1475506" y="1598386"/>
                  <a:ext cx="2095360" cy="766164"/>
                  <a:chOff x="1583962" y="1026123"/>
                  <a:chExt cx="2119204" cy="785424"/>
                </a:xfrm>
              </p:grpSpPr>
              <p:sp>
                <p:nvSpPr>
                  <p:cNvPr id="64" name="ZoneTexte 53">
                    <a:extLst>
                      <a:ext uri="{FF2B5EF4-FFF2-40B4-BE49-F238E27FC236}">
                        <a16:creationId xmlns:a16="http://schemas.microsoft.com/office/drawing/2014/main" id="{5129671D-4DED-9E1C-5604-6D2403BCB0B8}"/>
                      </a:ext>
                    </a:extLst>
                  </p:cNvPr>
                  <p:cNvSpPr txBox="1"/>
                  <p:nvPr/>
                </p:nvSpPr>
                <p:spPr>
                  <a:xfrm>
                    <a:off x="1583962" y="1026123"/>
                    <a:ext cx="2119204" cy="785424"/>
                  </a:xfrm>
                  <a:prstGeom prst="rect">
                    <a:avLst/>
                  </a:prstGeom>
                  <a:noFill/>
                  <a:ln w="28575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marL="457200">
                      <a:lnSpc>
                        <a:spcPct val="250000"/>
                      </a:lnSpc>
                      <a:spcBef>
                        <a:spcPts val="600"/>
                      </a:spcBef>
                    </a:pPr>
                    <a:r>
                      <a:rPr lang="fr-FR" sz="1000" b="1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sym typeface="Wingdings" panose="05000000000000000000" pitchFamily="2" charset="2"/>
                      </a:rPr>
                      <a:t>Customer Position</a:t>
                    </a:r>
                  </a:p>
                  <a:p>
                    <a:pPr marL="457200">
                      <a:lnSpc>
                        <a:spcPct val="250000"/>
                      </a:lnSpc>
                      <a:spcBef>
                        <a:spcPts val="300"/>
                      </a:spcBef>
                    </a:pPr>
                    <a:r>
                      <a:rPr lang="fr-FR" sz="1000" b="1" dirty="0" err="1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sym typeface="Wingdings" panose="05000000000000000000" pitchFamily="2" charset="2"/>
                      </a:rPr>
                      <a:t>Technology</a:t>
                    </a:r>
                    <a:r>
                      <a:rPr lang="fr-FR" sz="1000" b="1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sym typeface="Wingdings" panose="05000000000000000000" pitchFamily="2" charset="2"/>
                      </a:rPr>
                      <a:t>/Know-how</a:t>
                    </a:r>
                    <a:endParaRPr lang="fr-FR" sz="1000" b="1" dirty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endParaRPr>
                  </a:p>
                </p:txBody>
              </p:sp>
              <p:pic>
                <p:nvPicPr>
                  <p:cNvPr id="65" name="Picture 4">
                    <a:extLst>
                      <a:ext uri="{FF2B5EF4-FFF2-40B4-BE49-F238E27FC236}">
                        <a16:creationId xmlns:a16="http://schemas.microsoft.com/office/drawing/2014/main" id="{2BE6F765-2AB3-E3A2-70DB-1226FAD7A07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2" cstate="screen">
                    <a:duotone>
                      <a:schemeClr val="accent4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632639" y="1210155"/>
                    <a:ext cx="352825" cy="210893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pic>
                <p:nvPicPr>
                  <p:cNvPr id="66" name="Picture 5">
                    <a:extLst>
                      <a:ext uri="{FF2B5EF4-FFF2-40B4-BE49-F238E27FC236}">
                        <a16:creationId xmlns:a16="http://schemas.microsoft.com/office/drawing/2014/main" id="{28D04E37-60CC-51F0-41D6-C325CD7247F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3" cstate="screen">
                    <a:duotone>
                      <a:schemeClr val="accent1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672375" y="1518942"/>
                    <a:ext cx="217433" cy="283225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  <p:sp>
              <p:nvSpPr>
                <p:cNvPr id="38" name="ZoneTexte 30">
                  <a:extLst>
                    <a:ext uri="{FF2B5EF4-FFF2-40B4-BE49-F238E27FC236}">
                      <a16:creationId xmlns:a16="http://schemas.microsoft.com/office/drawing/2014/main" id="{8615061A-E3A3-9C52-F504-619C5FAFB66E}"/>
                    </a:ext>
                  </a:extLst>
                </p:cNvPr>
                <p:cNvSpPr txBox="1"/>
                <p:nvPr/>
              </p:nvSpPr>
              <p:spPr>
                <a:xfrm>
                  <a:off x="150055" y="1425743"/>
                  <a:ext cx="326711" cy="4422601"/>
                </a:xfrm>
                <a:prstGeom prst="rect">
                  <a:avLst/>
                </a:prstGeom>
                <a:noFill/>
              </p:spPr>
              <p:txBody>
                <a:bodyPr vert="vert270" wrap="square" rtlCol="0">
                  <a:spAutoFit/>
                </a:bodyPr>
                <a:lstStyle/>
                <a:p>
                  <a:pPr algn="ctr"/>
                  <a:r>
                    <a:rPr lang="en-US" sz="1000" dirty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Revenue evolution  (€m)</a:t>
                  </a:r>
                </a:p>
              </p:txBody>
            </p:sp>
            <p:pic>
              <p:nvPicPr>
                <p:cNvPr id="39" name="Picture 5">
                  <a:extLst>
                    <a:ext uri="{FF2B5EF4-FFF2-40B4-BE49-F238E27FC236}">
                      <a16:creationId xmlns:a16="http://schemas.microsoft.com/office/drawing/2014/main" id="{7A616B84-218E-2EAF-C394-F0E37DE21A7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334146" y="1934877"/>
                  <a:ext cx="148899" cy="18821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40" name="Groupe 32">
                  <a:extLst>
                    <a:ext uri="{FF2B5EF4-FFF2-40B4-BE49-F238E27FC236}">
                      <a16:creationId xmlns:a16="http://schemas.microsoft.com/office/drawing/2014/main" id="{70A5B274-BCB0-7F86-C64C-2573EF943CCC}"/>
                    </a:ext>
                  </a:extLst>
                </p:cNvPr>
                <p:cNvGrpSpPr/>
                <p:nvPr/>
              </p:nvGrpSpPr>
              <p:grpSpPr>
                <a:xfrm>
                  <a:off x="7898124" y="1712913"/>
                  <a:ext cx="644605" cy="617381"/>
                  <a:chOff x="8155235" y="646653"/>
                  <a:chExt cx="651939" cy="632895"/>
                </a:xfrm>
              </p:grpSpPr>
              <p:sp>
                <p:nvSpPr>
                  <p:cNvPr id="62" name="ZoneTexte 51">
                    <a:extLst>
                      <a:ext uri="{FF2B5EF4-FFF2-40B4-BE49-F238E27FC236}">
                        <a16:creationId xmlns:a16="http://schemas.microsoft.com/office/drawing/2014/main" id="{C9E25F15-F5BD-1B04-7D55-C36C85F9980F}"/>
                      </a:ext>
                    </a:extLst>
                  </p:cNvPr>
                  <p:cNvSpPr txBox="1"/>
                  <p:nvPr/>
                </p:nvSpPr>
                <p:spPr>
                  <a:xfrm>
                    <a:off x="8155235" y="1049684"/>
                    <a:ext cx="651939" cy="22986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914377"/>
                    <a:r>
                      <a:rPr lang="en-GB" sz="950" b="1" kern="0" dirty="0">
                        <a:solidFill>
                          <a:srgbClr val="4A4F54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rPr>
                      <a:t>2019</a:t>
                    </a:r>
                  </a:p>
                </p:txBody>
              </p:sp>
              <p:pic>
                <p:nvPicPr>
                  <p:cNvPr id="63" name="Image 52" descr="Une image contenant signe, extérieur, ciel&#10;&#10;Description générée avec un niveau de confiance élevé">
                    <a:extLst>
                      <a:ext uri="{FF2B5EF4-FFF2-40B4-BE49-F238E27FC236}">
                        <a16:creationId xmlns:a16="http://schemas.microsoft.com/office/drawing/2014/main" id="{D398EA6C-656B-7784-A519-245CFBB886B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63573" y="646653"/>
                    <a:ext cx="614118" cy="13903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41" name="Picture 4">
                  <a:extLst>
                    <a:ext uri="{FF2B5EF4-FFF2-40B4-BE49-F238E27FC236}">
                      <a16:creationId xmlns:a16="http://schemas.microsoft.com/office/drawing/2014/main" id="{419C6596-ECB2-673D-7FD3-58664FE3F8B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8858" y="4673806"/>
                  <a:ext cx="264768" cy="1561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2" name="Image 35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D6C24C3C-8E59-7C44-0017-9083682679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00238" y="5569004"/>
                  <a:ext cx="185916" cy="183419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/>
              </p:spPr>
            </p:pic>
            <p:pic>
              <p:nvPicPr>
                <p:cNvPr id="43" name="Image 36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977AB133-EBAF-6395-D164-4E82C39387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62562" y="3945438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4" name="Image 37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F280B363-E60D-228A-660C-7C3B26A5C2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894137" y="4588263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5" name="Image 38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C48D7C37-4F90-99EB-258F-C22D730923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24268" y="4646526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6" name="Image 40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4185A46D-362D-F453-0DD5-106784E30B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18734" y="3254535"/>
                  <a:ext cx="194477" cy="18338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7" name="Image 41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EA912D71-5511-7A7E-FCC8-8B642C89BC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97283" y="3225046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8" name="Image 42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D1ACE71C-A599-7FE6-3EC7-4E40DF94C1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40926" y="1934877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49" name="Picture 5">
                  <a:extLst>
                    <a:ext uri="{FF2B5EF4-FFF2-40B4-BE49-F238E27FC236}">
                      <a16:creationId xmlns:a16="http://schemas.microsoft.com/office/drawing/2014/main" id="{83A8A081-962A-1020-ACAE-D176C1EEE01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777913" y="2841697"/>
                  <a:ext cx="148899" cy="18821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50" name="Image 44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EFF9AC70-C300-B56C-9C57-7950B8921E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96515" y="2842972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51" name="Picture 5">
                  <a:extLst>
                    <a:ext uri="{FF2B5EF4-FFF2-40B4-BE49-F238E27FC236}">
                      <a16:creationId xmlns:a16="http://schemas.microsoft.com/office/drawing/2014/main" id="{5E47902A-EC5E-3F01-EDF3-DB19ABDF15F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288607" y="1916959"/>
                  <a:ext cx="148899" cy="18821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52" name="Image 46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6DBB3BEE-9A5F-3B92-45AE-5A38147516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83843" y="1913310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53" name="Image 47">
                  <a:extLst>
                    <a:ext uri="{FF2B5EF4-FFF2-40B4-BE49-F238E27FC236}">
                      <a16:creationId xmlns:a16="http://schemas.microsoft.com/office/drawing/2014/main" id="{0A7C2DFA-E2C7-EC8F-90A8-230BFF5507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70116" y="3550980"/>
                  <a:ext cx="446868" cy="440872"/>
                </a:xfrm>
                <a:prstGeom prst="rect">
                  <a:avLst/>
                </a:prstGeom>
              </p:spPr>
            </p:pic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846497C7-C887-F4F1-5381-65420BEE0402}"/>
                    </a:ext>
                  </a:extLst>
                </p:cNvPr>
                <p:cNvSpPr/>
                <p:nvPr/>
              </p:nvSpPr>
              <p:spPr>
                <a:xfrm>
                  <a:off x="5660331" y="3351071"/>
                  <a:ext cx="466439" cy="2242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4377"/>
                  <a:r>
                    <a:rPr lang="en-GB" sz="950" b="1" kern="0" dirty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2011</a:t>
                  </a:r>
                </a:p>
              </p:txBody>
            </p:sp>
            <p:pic>
              <p:nvPicPr>
                <p:cNvPr id="55" name="Image 49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DEE4AC27-A079-CD6B-B34B-64C328D6CE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96311" y="4008162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  <p:pic>
              <p:nvPicPr>
                <p:cNvPr id="56" name="Picture 7" descr="Logo&#10;&#10;Description automatically generated">
                  <a:extLst>
                    <a:ext uri="{FF2B5EF4-FFF2-40B4-BE49-F238E27FC236}">
                      <a16:creationId xmlns:a16="http://schemas.microsoft.com/office/drawing/2014/main" id="{EC905BC3-6B55-32B9-4EA2-1FAE4EF023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41067" y="2835915"/>
                  <a:ext cx="590491" cy="107150"/>
                </a:xfrm>
                <a:prstGeom prst="rect">
                  <a:avLst/>
                </a:prstGeom>
              </p:spPr>
            </p:pic>
            <p:pic>
              <p:nvPicPr>
                <p:cNvPr id="57" name="Picture 5">
                  <a:extLst>
                    <a:ext uri="{FF2B5EF4-FFF2-40B4-BE49-F238E27FC236}">
                      <a16:creationId xmlns:a16="http://schemas.microsoft.com/office/drawing/2014/main" id="{0A17EFE0-08C8-3007-C0DA-010721C1595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996564" y="2990745"/>
                  <a:ext cx="155330" cy="19634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58" name="ZoneTexte 156">
                  <a:extLst>
                    <a:ext uri="{FF2B5EF4-FFF2-40B4-BE49-F238E27FC236}">
                      <a16:creationId xmlns:a16="http://schemas.microsoft.com/office/drawing/2014/main" id="{39FA2405-E4A3-731E-0FF6-D3044B3E7EB5}"/>
                    </a:ext>
                  </a:extLst>
                </p:cNvPr>
                <p:cNvSpPr txBox="1"/>
                <p:nvPr/>
              </p:nvSpPr>
              <p:spPr>
                <a:xfrm>
                  <a:off x="8607700" y="2631204"/>
                  <a:ext cx="644605" cy="2242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/>
                  <a:r>
                    <a:rPr lang="en-GB" sz="950" b="1" kern="0" dirty="0">
                      <a:solidFill>
                        <a:srgbClr val="4A4F54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rPr>
                    <a:t>2022</a:t>
                  </a:r>
                </a:p>
              </p:txBody>
            </p:sp>
            <p:pic>
              <p:nvPicPr>
                <p:cNvPr id="59" name="Picture 2" descr="Le drapeau de l'Inde – Les plus beaux drapeaux du monde">
                  <a:extLst>
                    <a:ext uri="{FF2B5EF4-FFF2-40B4-BE49-F238E27FC236}">
                      <a16:creationId xmlns:a16="http://schemas.microsoft.com/office/drawing/2014/main" id="{66BB1184-A926-AE9E-2AE0-8169EAA1A7B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12287" y="2997526"/>
                  <a:ext cx="194346" cy="192392"/>
                </a:xfrm>
                <a:prstGeom prst="ellipse">
                  <a:avLst/>
                </a:prstGeom>
                <a:ln w="6350" cap="rnd">
                  <a:noFill/>
                </a:ln>
                <a:effectLst>
                  <a:outerShdw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0" name="Picture 5">
                  <a:extLst>
                    <a:ext uri="{FF2B5EF4-FFF2-40B4-BE49-F238E27FC236}">
                      <a16:creationId xmlns:a16="http://schemas.microsoft.com/office/drawing/2014/main" id="{C7ADEDDC-9B5B-F565-4CEA-C9E656C1E5C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screen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82000" y="3220014"/>
                  <a:ext cx="148899" cy="18821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1" name="Image 46" descr="Une image contenant dessin&#10;&#10;Description générée automatiquement">
                  <a:extLst>
                    <a:ext uri="{FF2B5EF4-FFF2-40B4-BE49-F238E27FC236}">
                      <a16:creationId xmlns:a16="http://schemas.microsoft.com/office/drawing/2014/main" id="{16ADDE4F-0C54-EB89-842C-D899618DB1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179762" y="1642312"/>
                  <a:ext cx="194477" cy="191866"/>
                </a:xfrm>
                <a:prstGeom prst="rect">
                  <a:avLst/>
                </a:prstGeom>
                <a:ln>
                  <a:noFill/>
                </a:ln>
                <a:effectLst>
                  <a:outerShdw dir="5400000" algn="ctr">
                    <a:srgbClr val="000000">
                      <a:alpha val="32000"/>
                    </a:srgbClr>
                  </a:outerShdw>
                </a:effectLst>
              </p:spPr>
            </p:pic>
          </p:grpSp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407AC6C0-15FC-71C3-B17C-41C29D456E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77927" y="1025065"/>
                <a:ext cx="208164" cy="208164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7EE0515-456A-525A-8F1E-57E0AB3247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61685" y="507967"/>
                <a:ext cx="159719" cy="2156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2C0BD9C3-045A-242E-0A9A-4B3AA8DC2B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33522"/>
              <a:stretch/>
            </p:blipFill>
            <p:spPr>
              <a:xfrm>
                <a:off x="8908858" y="822325"/>
                <a:ext cx="736444" cy="159996"/>
              </a:xfrm>
              <a:prstGeom prst="rect">
                <a:avLst/>
              </a:prstGeom>
            </p:spPr>
          </p:pic>
          <p:sp>
            <p:nvSpPr>
              <p:cNvPr id="17" name="ZoneTexte 156">
                <a:extLst>
                  <a:ext uri="{FF2B5EF4-FFF2-40B4-BE49-F238E27FC236}">
                    <a16:creationId xmlns:a16="http://schemas.microsoft.com/office/drawing/2014/main" id="{9490B7D8-6043-4144-1391-E8CC3238D0A7}"/>
                  </a:ext>
                </a:extLst>
              </p:cNvPr>
              <p:cNvSpPr txBox="1"/>
              <p:nvPr/>
            </p:nvSpPr>
            <p:spPr>
              <a:xfrm>
                <a:off x="8874549" y="1233453"/>
                <a:ext cx="66281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/>
                <a:r>
                  <a:rPr lang="en-GB" sz="950" b="1" kern="0" dirty="0">
                    <a:solidFill>
                      <a:srgbClr val="4A4F54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023</a:t>
                </a:r>
              </a:p>
            </p:txBody>
          </p:sp>
          <p:sp>
            <p:nvSpPr>
              <p:cNvPr id="18" name="ZoneTexte 156">
                <a:extLst>
                  <a:ext uri="{FF2B5EF4-FFF2-40B4-BE49-F238E27FC236}">
                    <a16:creationId xmlns:a16="http://schemas.microsoft.com/office/drawing/2014/main" id="{809752B9-19F0-781C-1EDF-AD91B361A2C9}"/>
                  </a:ext>
                </a:extLst>
              </p:cNvPr>
              <p:cNvSpPr txBox="1"/>
              <p:nvPr/>
            </p:nvSpPr>
            <p:spPr>
              <a:xfrm>
                <a:off x="9374770" y="738165"/>
                <a:ext cx="66281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/>
                <a:r>
                  <a:rPr lang="en-GB" sz="950" b="1" kern="0" dirty="0">
                    <a:solidFill>
                      <a:srgbClr val="4A4F54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023</a:t>
                </a: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BBA2910A-EC6B-DE22-CC17-A115EC7F6B6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74399" y="1017850"/>
                <a:ext cx="159719" cy="2156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9" name="Picture 8" descr="A logo for a company&#10;&#10;Description automatically generated">
              <a:extLst>
                <a:ext uri="{FF2B5EF4-FFF2-40B4-BE49-F238E27FC236}">
                  <a16:creationId xmlns:a16="http://schemas.microsoft.com/office/drawing/2014/main" id="{DAC45D1E-F127-29AC-F887-9F7C73ABF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1564" y="1341509"/>
              <a:ext cx="675485" cy="137799"/>
            </a:xfrm>
            <a:prstGeom prst="rect">
              <a:avLst/>
            </a:prstGeom>
          </p:spPr>
        </p:pic>
        <p:pic>
          <p:nvPicPr>
            <p:cNvPr id="10" name="Image 58">
              <a:extLst>
                <a:ext uri="{FF2B5EF4-FFF2-40B4-BE49-F238E27FC236}">
                  <a16:creationId xmlns:a16="http://schemas.microsoft.com/office/drawing/2014/main" id="{836B6CDE-4CAF-9340-3F3C-FAED2FFB4E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72323" y="2548810"/>
              <a:ext cx="492375" cy="180482"/>
            </a:xfrm>
            <a:prstGeom prst="rect">
              <a:avLst/>
            </a:prstGeom>
          </p:spPr>
        </p:pic>
        <p:pic>
          <p:nvPicPr>
            <p:cNvPr id="11" name="Picture 5">
              <a:extLst>
                <a:ext uri="{FF2B5EF4-FFF2-40B4-BE49-F238E27FC236}">
                  <a16:creationId xmlns:a16="http://schemas.microsoft.com/office/drawing/2014/main" id="{CAD732E4-0DD7-535F-BB52-AAD0C5A50E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0402" y="2772589"/>
              <a:ext cx="154296" cy="2054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Image 39" descr="Une image contenant dessin&#10;&#10;Description générée automatiquement">
              <a:extLst>
                <a:ext uri="{FF2B5EF4-FFF2-40B4-BE49-F238E27FC236}">
                  <a16:creationId xmlns:a16="http://schemas.microsoft.com/office/drawing/2014/main" id="{E4340D1D-9D27-93C7-D3CC-CCD68AC32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7946" y="2773830"/>
              <a:ext cx="201526" cy="209386"/>
            </a:xfrm>
            <a:prstGeom prst="rect">
              <a:avLst/>
            </a:prstGeom>
            <a:ln>
              <a:noFill/>
            </a:ln>
            <a:effectLst>
              <a:outerShdw dir="5400000" algn="ctr">
                <a:srgbClr val="000000">
                  <a:alpha val="32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37227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8F0F3A3-6DA3-F1D5-74AD-886C88C20313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A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0" name="Picture 19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7B4BD019-0AB6-DF93-F146-8981984E1F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5127108"/>
            <a:ext cx="5334000" cy="1730892"/>
          </a:xfrm>
          <a:custGeom>
            <a:avLst/>
            <a:gdLst>
              <a:gd name="connsiteX0" fmla="*/ 0 w 5240925"/>
              <a:gd name="connsiteY0" fmla="*/ 0 h 1730892"/>
              <a:gd name="connsiteX1" fmla="*/ 5240925 w 5240925"/>
              <a:gd name="connsiteY1" fmla="*/ 0 h 1730892"/>
              <a:gd name="connsiteX2" fmla="*/ 5240925 w 5240925"/>
              <a:gd name="connsiteY2" fmla="*/ 1730892 h 1730892"/>
              <a:gd name="connsiteX3" fmla="*/ 0 w 5240925"/>
              <a:gd name="connsiteY3" fmla="*/ 1730892 h 1730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40925" h="1730892">
                <a:moveTo>
                  <a:pt x="0" y="0"/>
                </a:moveTo>
                <a:lnTo>
                  <a:pt x="5240925" y="0"/>
                </a:lnTo>
                <a:lnTo>
                  <a:pt x="5240925" y="1730892"/>
                </a:lnTo>
                <a:lnTo>
                  <a:pt x="0" y="1730892"/>
                </a:lnTo>
                <a:close/>
              </a:path>
            </a:pathLst>
          </a:custGeom>
        </p:spPr>
      </p:pic>
      <p:pic>
        <p:nvPicPr>
          <p:cNvPr id="8" name="Picture 7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82435820-16E6-4836-FFB0-6E6ED657ED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6952798" cy="1736691"/>
          </a:xfrm>
          <a:prstGeom prst="rect">
            <a:avLst/>
          </a:prstGeom>
        </p:spPr>
      </p:pic>
      <p:pic>
        <p:nvPicPr>
          <p:cNvPr id="9" name="Picture 8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B3F8DDBA-E7D6-EE3D-80B4-AD976DD29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1073" y="2"/>
            <a:ext cx="5240925" cy="1736690"/>
          </a:xfrm>
          <a:prstGeom prst="rect">
            <a:avLst/>
          </a:prstGeom>
        </p:spPr>
      </p:pic>
      <p:pic>
        <p:nvPicPr>
          <p:cNvPr id="11" name="Picture 10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C5FE8F4D-73E3-FB95-477C-24F5223983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127108"/>
            <a:ext cx="6951073" cy="173089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4FD3BFB-EDEC-4C59-A29E-EF319D052B73}"/>
              </a:ext>
            </a:extLst>
          </p:cNvPr>
          <p:cNvSpPr/>
          <p:nvPr userDrawn="1"/>
        </p:nvSpPr>
        <p:spPr>
          <a:xfrm flipH="1">
            <a:off x="0" y="2095500"/>
            <a:ext cx="12192000" cy="266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ts val="9000"/>
              </a:lnSpc>
            </a:pPr>
            <a:r>
              <a:rPr lang="en-US" sz="75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hank you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7BF1AD7-3E10-446E-B57F-B447EF33CA6B}"/>
              </a:ext>
            </a:extLst>
          </p:cNvPr>
          <p:cNvSpPr txBox="1"/>
          <p:nvPr userDrawn="1"/>
        </p:nvSpPr>
        <p:spPr>
          <a:xfrm>
            <a:off x="103573" y="6667180"/>
            <a:ext cx="1447800" cy="1272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8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©2024 Axway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737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arning plan slide T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FA565CA-05A4-4E5E-ACBF-67FF38993007}"/>
              </a:ext>
            </a:extLst>
          </p:cNvPr>
          <p:cNvSpPr/>
          <p:nvPr userDrawn="1"/>
        </p:nvSpPr>
        <p:spPr>
          <a:xfrm>
            <a:off x="0" y="-1746"/>
            <a:ext cx="11472000" cy="5789730"/>
          </a:xfrm>
          <a:prstGeom prst="rect">
            <a:avLst/>
          </a:prstGeom>
          <a:solidFill>
            <a:srgbClr val="EB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A6D36D-8DA4-473C-B35F-0CD7DFEFC2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379" y="1080000"/>
            <a:ext cx="5723259" cy="923330"/>
          </a:xfrm>
        </p:spPr>
        <p:txBody>
          <a:bodyPr wrap="square" anchor="t">
            <a:spAutoFit/>
          </a:bodyPr>
          <a:lstStyle>
            <a:lvl1pPr algn="l">
              <a:defRPr sz="6000">
                <a:solidFill>
                  <a:srgbClr val="4A4F54"/>
                </a:solidFill>
              </a:defRPr>
            </a:lvl1pPr>
          </a:lstStyle>
          <a:p>
            <a:r>
              <a:rPr lang="en-US" dirty="0"/>
              <a:t>How-to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95E09F-828B-4426-B099-49B8878CB6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379" y="3600000"/>
            <a:ext cx="5723259" cy="2160000"/>
          </a:xfr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rgbClr val="4A4F5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9BD60D-8BAF-4B92-B62B-50FAF6786A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16537" y="4068000"/>
            <a:ext cx="3240000" cy="10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3600">
                <a:solidFill>
                  <a:srgbClr val="4A4F54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E7293-A224-44BF-BCB6-36C4F61D2AF1}"/>
              </a:ext>
            </a:extLst>
          </p:cNvPr>
          <p:cNvSpPr/>
          <p:nvPr userDrawn="1"/>
        </p:nvSpPr>
        <p:spPr>
          <a:xfrm>
            <a:off x="11472000" y="0"/>
            <a:ext cx="720000" cy="720000"/>
          </a:xfrm>
          <a:prstGeom prst="rect">
            <a:avLst/>
          </a:prstGeom>
          <a:solidFill>
            <a:srgbClr val="00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4A4F54"/>
              </a:solidFill>
            </a:endParaRPr>
          </a:p>
        </p:txBody>
      </p:sp>
      <p:pic>
        <p:nvPicPr>
          <p:cNvPr id="15" name="Picture 120">
            <a:extLst>
              <a:ext uri="{FF2B5EF4-FFF2-40B4-BE49-F238E27FC236}">
                <a16:creationId xmlns:a16="http://schemas.microsoft.com/office/drawing/2014/main" id="{E397DB51-AD6A-1ED2-0FAE-9E3A6475D9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299397" y="1132138"/>
            <a:ext cx="2455022" cy="24550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8961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6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Gene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3E4C74-3388-4B46-A220-E514F7F826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8640000" cy="4680000"/>
          </a:xfrm>
        </p:spPr>
        <p:txBody>
          <a:bodyPr>
            <a:normAutofit/>
          </a:bodyPr>
          <a:lstStyle>
            <a:lvl1pPr marL="457200" indent="-457200">
              <a:buClr>
                <a:srgbClr val="D12531"/>
              </a:buClr>
              <a:buFont typeface="Wingdings" panose="05000000000000000000" pitchFamily="2" charset="2"/>
              <a:buChar char="§"/>
              <a:defRPr sz="2500"/>
            </a:lvl1pPr>
            <a:lvl2pPr marL="914400" indent="-457200">
              <a:buClr>
                <a:srgbClr val="D12531"/>
              </a:buClr>
              <a:buFont typeface="Wingdings" panose="05000000000000000000" pitchFamily="2" charset="2"/>
              <a:buChar char="ü"/>
              <a:defRPr/>
            </a:lvl2pPr>
            <a:lvl3pPr marL="1371600" indent="-457200">
              <a:buClr>
                <a:srgbClr val="D12531"/>
              </a:buClr>
              <a:buFont typeface="Wingdings" panose="05000000000000000000" pitchFamily="2" charset="2"/>
              <a:buChar char="ü"/>
              <a:defRPr/>
            </a:lvl3pPr>
          </a:lstStyle>
          <a:p>
            <a:pPr lvl="0"/>
            <a:r>
              <a:rPr lang="en-US"/>
              <a:t>Write down your text over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6B1DC3-FF50-47BC-A3CB-931AF6B9F4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08000"/>
            <a:ext cx="10620000" cy="900000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Title of the scre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D87A6B-2E32-4C09-909E-609226EBC562}"/>
              </a:ext>
            </a:extLst>
          </p:cNvPr>
          <p:cNvSpPr/>
          <p:nvPr userDrawn="1"/>
        </p:nvSpPr>
        <p:spPr>
          <a:xfrm>
            <a:off x="10766560" y="-6400"/>
            <a:ext cx="1440000" cy="1440000"/>
          </a:xfrm>
          <a:prstGeom prst="rect">
            <a:avLst/>
          </a:prstGeom>
          <a:solidFill>
            <a:srgbClr val="FF24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F8184"/>
              </a:solidFill>
            </a:endParaRPr>
          </a:p>
        </p:txBody>
      </p:sp>
      <p:pic>
        <p:nvPicPr>
          <p:cNvPr id="7" name="Picture 120">
            <a:extLst>
              <a:ext uri="{FF2B5EF4-FFF2-40B4-BE49-F238E27FC236}">
                <a16:creationId xmlns:a16="http://schemas.microsoft.com/office/drawing/2014/main" id="{3CD3DFC2-2DCD-8FDB-95A3-9CDD7EC712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980000" y="199177"/>
            <a:ext cx="1034200" cy="1034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5004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_1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7E88B-839B-44D4-90A9-3CF4BEB74B2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1828800"/>
            <a:ext cx="6283078" cy="3326477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5000" b="0" i="0">
                <a:solidFill>
                  <a:srgbClr val="22272B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 dirty="0"/>
              <a:t>Section divider heading in sentence case</a:t>
            </a:r>
          </a:p>
        </p:txBody>
      </p:sp>
      <p:pic>
        <p:nvPicPr>
          <p:cNvPr id="23" name="Picture 22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D1E8E409-7A63-B135-FE36-CE336DEF9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5020"/>
          <a:stretch/>
        </p:blipFill>
        <p:spPr>
          <a:xfrm>
            <a:off x="5334000" y="1715904"/>
            <a:ext cx="6858000" cy="5142097"/>
          </a:xfrm>
          <a:custGeom>
            <a:avLst/>
            <a:gdLst>
              <a:gd name="connsiteX0" fmla="*/ 6858000 w 6858000"/>
              <a:gd name="connsiteY0" fmla="*/ 0 h 5142097"/>
              <a:gd name="connsiteX1" fmla="*/ 6858000 w 6858000"/>
              <a:gd name="connsiteY1" fmla="*/ 5142097 h 5142097"/>
              <a:gd name="connsiteX2" fmla="*/ 0 w 6858000"/>
              <a:gd name="connsiteY2" fmla="*/ 5142097 h 5142097"/>
              <a:gd name="connsiteX3" fmla="*/ 0 w 6858000"/>
              <a:gd name="connsiteY3" fmla="*/ 3427596 h 5142097"/>
              <a:gd name="connsiteX4" fmla="*/ 1708697 w 6858000"/>
              <a:gd name="connsiteY4" fmla="*/ 3427596 h 5142097"/>
              <a:gd name="connsiteX5" fmla="*/ 1708697 w 6858000"/>
              <a:gd name="connsiteY5" fmla="*/ 3430584 h 5142097"/>
              <a:gd name="connsiteX6" fmla="*/ 3427769 w 6858000"/>
              <a:gd name="connsiteY6" fmla="*/ 3430584 h 5142097"/>
              <a:gd name="connsiteX7" fmla="*/ 3427769 w 6858000"/>
              <a:gd name="connsiteY7" fmla="*/ 1715636 h 5142097"/>
              <a:gd name="connsiteX8" fmla="*/ 5138102 w 6858000"/>
              <a:gd name="connsiteY8" fmla="*/ 1715636 h 5142097"/>
              <a:gd name="connsiteX9" fmla="*/ 5138102 w 6858000"/>
              <a:gd name="connsiteY9" fmla="*/ 1728942 h 5142097"/>
              <a:gd name="connsiteX10" fmla="*/ 6690701 w 6858000"/>
              <a:gd name="connsiteY10" fmla="*/ 8448 h 514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58000" h="5142097">
                <a:moveTo>
                  <a:pt x="6858000" y="0"/>
                </a:moveTo>
                <a:lnTo>
                  <a:pt x="6858000" y="5142097"/>
                </a:lnTo>
                <a:lnTo>
                  <a:pt x="0" y="5142097"/>
                </a:lnTo>
                <a:lnTo>
                  <a:pt x="0" y="3427596"/>
                </a:lnTo>
                <a:lnTo>
                  <a:pt x="1708697" y="3427596"/>
                </a:lnTo>
                <a:lnTo>
                  <a:pt x="1708697" y="3430584"/>
                </a:lnTo>
                <a:lnTo>
                  <a:pt x="3427769" y="3430584"/>
                </a:lnTo>
                <a:lnTo>
                  <a:pt x="3427769" y="1715636"/>
                </a:lnTo>
                <a:lnTo>
                  <a:pt x="5138102" y="1715636"/>
                </a:lnTo>
                <a:lnTo>
                  <a:pt x="5138102" y="1728942"/>
                </a:lnTo>
                <a:cubicBezTo>
                  <a:pt x="5138102" y="833503"/>
                  <a:pt x="5818629" y="97012"/>
                  <a:pt x="6690701" y="8448"/>
                </a:cubicBezTo>
                <a:close/>
              </a:path>
            </a:pathLst>
          </a:cu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819AE97C-9233-237E-DFC3-0D8D15C61E43}"/>
              </a:ext>
            </a:extLst>
          </p:cNvPr>
          <p:cNvGrpSpPr>
            <a:grpSpLocks/>
          </p:cNvGrpSpPr>
          <p:nvPr userDrawn="1"/>
        </p:nvGrpSpPr>
        <p:grpSpPr>
          <a:xfrm>
            <a:off x="7045078" y="3433762"/>
            <a:ext cx="1719072" cy="1710142"/>
            <a:chOff x="7042817" y="3424832"/>
            <a:chExt cx="1719072" cy="1719072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18B43CC-E9DD-E50D-46E8-682CEE82440E}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7042817" y="3424832"/>
              <a:ext cx="1719072" cy="1719072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E7D7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BFB06FE-558E-42BA-C2F8-4872636260D6}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7896225" y="4278240"/>
              <a:ext cx="865664" cy="865664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4A4F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2AD0FA8-4C1D-462A-64FD-DA9D2E396C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90082" y="373063"/>
            <a:ext cx="1142998" cy="38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3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3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_2_Grey">
    <p:bg>
      <p:bgPr>
        <a:solidFill>
          <a:srgbClr val="4A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7E88B-839B-44D4-90A9-3CF4BEB74B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1828800"/>
            <a:ext cx="6283078" cy="3326477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5000" b="0" i="0">
                <a:solidFill>
                  <a:schemeClr val="bg1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 dirty="0"/>
              <a:t>Section divider heading in sentence case</a:t>
            </a:r>
          </a:p>
        </p:txBody>
      </p:sp>
      <p:pic>
        <p:nvPicPr>
          <p:cNvPr id="5" name="Picture 4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D4031AE2-0863-2A3D-253A-7B84C0AB2D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5020"/>
          <a:stretch/>
        </p:blipFill>
        <p:spPr>
          <a:xfrm>
            <a:off x="5334000" y="1715904"/>
            <a:ext cx="6858000" cy="5142097"/>
          </a:xfrm>
          <a:custGeom>
            <a:avLst/>
            <a:gdLst>
              <a:gd name="connsiteX0" fmla="*/ 6858000 w 6858000"/>
              <a:gd name="connsiteY0" fmla="*/ 0 h 5142097"/>
              <a:gd name="connsiteX1" fmla="*/ 6858000 w 6858000"/>
              <a:gd name="connsiteY1" fmla="*/ 5142097 h 5142097"/>
              <a:gd name="connsiteX2" fmla="*/ 0 w 6858000"/>
              <a:gd name="connsiteY2" fmla="*/ 5142097 h 5142097"/>
              <a:gd name="connsiteX3" fmla="*/ 0 w 6858000"/>
              <a:gd name="connsiteY3" fmla="*/ 3427596 h 5142097"/>
              <a:gd name="connsiteX4" fmla="*/ 1708697 w 6858000"/>
              <a:gd name="connsiteY4" fmla="*/ 3427596 h 5142097"/>
              <a:gd name="connsiteX5" fmla="*/ 1708697 w 6858000"/>
              <a:gd name="connsiteY5" fmla="*/ 3430584 h 5142097"/>
              <a:gd name="connsiteX6" fmla="*/ 3427769 w 6858000"/>
              <a:gd name="connsiteY6" fmla="*/ 3430584 h 5142097"/>
              <a:gd name="connsiteX7" fmla="*/ 3427769 w 6858000"/>
              <a:gd name="connsiteY7" fmla="*/ 1715636 h 5142097"/>
              <a:gd name="connsiteX8" fmla="*/ 5138102 w 6858000"/>
              <a:gd name="connsiteY8" fmla="*/ 1715636 h 5142097"/>
              <a:gd name="connsiteX9" fmla="*/ 5138102 w 6858000"/>
              <a:gd name="connsiteY9" fmla="*/ 1728942 h 5142097"/>
              <a:gd name="connsiteX10" fmla="*/ 6690701 w 6858000"/>
              <a:gd name="connsiteY10" fmla="*/ 8448 h 514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58000" h="5142097">
                <a:moveTo>
                  <a:pt x="6858000" y="0"/>
                </a:moveTo>
                <a:lnTo>
                  <a:pt x="6858000" y="5142097"/>
                </a:lnTo>
                <a:lnTo>
                  <a:pt x="0" y="5142097"/>
                </a:lnTo>
                <a:lnTo>
                  <a:pt x="0" y="3427596"/>
                </a:lnTo>
                <a:lnTo>
                  <a:pt x="1708697" y="3427596"/>
                </a:lnTo>
                <a:lnTo>
                  <a:pt x="1708697" y="3430584"/>
                </a:lnTo>
                <a:lnTo>
                  <a:pt x="3427769" y="3430584"/>
                </a:lnTo>
                <a:lnTo>
                  <a:pt x="3427769" y="1715636"/>
                </a:lnTo>
                <a:lnTo>
                  <a:pt x="5138102" y="1715636"/>
                </a:lnTo>
                <a:lnTo>
                  <a:pt x="5138102" y="1728942"/>
                </a:lnTo>
                <a:cubicBezTo>
                  <a:pt x="5138102" y="833503"/>
                  <a:pt x="5818629" y="97012"/>
                  <a:pt x="6690701" y="8448"/>
                </a:cubicBezTo>
                <a:close/>
              </a:path>
            </a:pathLst>
          </a:cu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8593F4E-9410-2E24-D992-546D6C9FD6DB}"/>
              </a:ext>
            </a:extLst>
          </p:cNvPr>
          <p:cNvGrpSpPr>
            <a:grpSpLocks/>
          </p:cNvGrpSpPr>
          <p:nvPr userDrawn="1"/>
        </p:nvGrpSpPr>
        <p:grpSpPr>
          <a:xfrm>
            <a:off x="7045078" y="3433762"/>
            <a:ext cx="1719072" cy="1710142"/>
            <a:chOff x="7042817" y="3424832"/>
            <a:chExt cx="1719072" cy="171907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247FBF-1807-C17D-FDED-26A4879A44F9}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7042817" y="3424832"/>
              <a:ext cx="1719072" cy="1719072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E7D7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B005A3C-4856-0BEB-F5C1-CAC15BCE3D39}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7896225" y="4278240"/>
              <a:ext cx="865664" cy="865664"/>
            </a:xfrm>
            <a:custGeom>
              <a:avLst/>
              <a:gdLst>
                <a:gd name="connsiteX0" fmla="*/ -32 w 1114425"/>
                <a:gd name="connsiteY0" fmla="*/ -552 h 1114430"/>
                <a:gd name="connsiteX1" fmla="*/ 1114345 w 1114425"/>
                <a:gd name="connsiteY1" fmla="*/ 1110954 h 1114430"/>
                <a:gd name="connsiteX2" fmla="*/ -80 w 1114425"/>
                <a:gd name="connsiteY2" fmla="*/ 1113878 h 111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4425" h="1114430">
                  <a:moveTo>
                    <a:pt x="-32" y="-552"/>
                  </a:moveTo>
                  <a:cubicBezTo>
                    <a:pt x="614283" y="-524"/>
                    <a:pt x="1112726" y="496636"/>
                    <a:pt x="1114345" y="1110954"/>
                  </a:cubicBezTo>
                  <a:lnTo>
                    <a:pt x="-80" y="1113878"/>
                  </a:lnTo>
                  <a:close/>
                </a:path>
              </a:pathLst>
            </a:custGeom>
            <a:solidFill>
              <a:srgbClr val="4A4F5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ECD929D4-2E0D-712F-ACEA-9DAB658BB8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90082" y="373063"/>
            <a:ext cx="1142998" cy="388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24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3_Soft Waves_Teal_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background&#10;&#10;Description automatically generated">
            <a:extLst>
              <a:ext uri="{FF2B5EF4-FFF2-40B4-BE49-F238E27FC236}">
                <a16:creationId xmlns:a16="http://schemas.microsoft.com/office/drawing/2014/main" id="{7DB1487E-8692-61B2-626C-63BCE37A3D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9800"/>
          <a:stretch/>
        </p:blipFill>
        <p:spPr>
          <a:xfrm rot="10800000" flipH="1">
            <a:off x="0" y="3429000"/>
            <a:ext cx="12192000" cy="3430818"/>
          </a:xfrm>
          <a:custGeom>
            <a:avLst/>
            <a:gdLst>
              <a:gd name="connsiteX0" fmla="*/ 0 w 12192000"/>
              <a:gd name="connsiteY0" fmla="*/ 3430818 h 3430818"/>
              <a:gd name="connsiteX1" fmla="*/ 12192000 w 12192000"/>
              <a:gd name="connsiteY1" fmla="*/ 3430818 h 3430818"/>
              <a:gd name="connsiteX2" fmla="*/ 12192000 w 12192000"/>
              <a:gd name="connsiteY2" fmla="*/ 0 h 3430818"/>
              <a:gd name="connsiteX3" fmla="*/ 0 w 12192000"/>
              <a:gd name="connsiteY3" fmla="*/ 0 h 3430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30818">
                <a:moveTo>
                  <a:pt x="0" y="3430818"/>
                </a:moveTo>
                <a:lnTo>
                  <a:pt x="12192000" y="3430818"/>
                </a:lnTo>
                <a:lnTo>
                  <a:pt x="12192000" y="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6B2CF9A-E035-9853-4C2B-A5917D57410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231321" y="3579545"/>
            <a:ext cx="4718222" cy="1416583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000" b="0" i="0">
                <a:solidFill>
                  <a:schemeClr val="bg1"/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r>
              <a:rPr lang="en-US" dirty="0"/>
              <a:t>Section divider title in sentence cas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8CECB28-B4AA-6FFE-45BB-EF0D65EC0FBE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222443" y="1880375"/>
            <a:ext cx="1812524" cy="1231106"/>
          </a:xfrm>
          <a:prstGeom prst="rect">
            <a:avLst/>
          </a:prstGeom>
          <a:noFill/>
        </p:spPr>
        <p:txBody>
          <a:bodyPr lIns="0" rIns="0" anchor="ctr">
            <a:noAutofit/>
          </a:bodyPr>
          <a:lstStyle>
            <a:lvl1pPr algn="l">
              <a:lnSpc>
                <a:spcPct val="110000"/>
              </a:lnSpc>
              <a:defRPr sz="8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90AAC7-59B6-3D10-AFD3-0C5CE987F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0082" y="373063"/>
            <a:ext cx="1142998" cy="38893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E7FEC11-082F-0D00-B60C-EC64E9E67276}"/>
              </a:ext>
            </a:extLst>
          </p:cNvPr>
          <p:cNvSpPr>
            <a:spLocks/>
          </p:cNvSpPr>
          <p:nvPr userDrawn="1"/>
        </p:nvSpPr>
        <p:spPr>
          <a:xfrm>
            <a:off x="761998" y="1400572"/>
            <a:ext cx="4016775" cy="4077021"/>
          </a:xfrm>
          <a:prstGeom prst="roundRect">
            <a:avLst>
              <a:gd name="adj" fmla="val 26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Picture Placeholder 38">
            <a:extLst>
              <a:ext uri="{FF2B5EF4-FFF2-40B4-BE49-F238E27FC236}">
                <a16:creationId xmlns:a16="http://schemas.microsoft.com/office/drawing/2014/main" id="{03DA5456-E290-C3B4-C391-E9E311E1D74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2470" y="1562855"/>
            <a:ext cx="3635829" cy="3752453"/>
          </a:xfrm>
          <a:prstGeom prst="roundRect">
            <a:avLst>
              <a:gd name="adj" fmla="val 3761"/>
            </a:avLst>
          </a:prstGeom>
          <a:solidFill>
            <a:srgbClr val="F3ECE3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61396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B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548570-10C5-403B-BF56-F645220EEBCA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00511" y="154962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9C646444-E1EE-42E4-A2D4-C98D9B0D049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00511" y="243896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 b="0" i="0">
                <a:solidFill>
                  <a:srgbClr val="22272B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7811B9BD-0CB7-43CB-8A5B-ADB65C36406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00511" y="421764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57FDB316-0518-4659-B304-AA9B464C78B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200511" y="510698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84" name="Text Placeholder 3">
            <a:extLst>
              <a:ext uri="{FF2B5EF4-FFF2-40B4-BE49-F238E27FC236}">
                <a16:creationId xmlns:a16="http://schemas.microsoft.com/office/drawing/2014/main" id="{F8F520ED-DD61-FC22-2693-5B3EE8EC4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0511" y="3328306"/>
            <a:ext cx="5562600" cy="762000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lnSpc>
                <a:spcPct val="110000"/>
              </a:lnSpc>
              <a:defRPr>
                <a:solidFill>
                  <a:srgbClr val="22272B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" name="Picture 1" descr="A blue and white geometric pattern&#10;&#10;Description automatically generated">
            <a:extLst>
              <a:ext uri="{FF2B5EF4-FFF2-40B4-BE49-F238E27FC236}">
                <a16:creationId xmlns:a16="http://schemas.microsoft.com/office/drawing/2014/main" id="{492B4679-571F-D233-B861-0D2682FCE0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1714501" cy="6858000"/>
          </a:xfrm>
          <a:custGeom>
            <a:avLst/>
            <a:gdLst>
              <a:gd name="connsiteX0" fmla="*/ 0 w 1714501"/>
              <a:gd name="connsiteY0" fmla="*/ 0 h 6858000"/>
              <a:gd name="connsiteX1" fmla="*/ 1714501 w 1714501"/>
              <a:gd name="connsiteY1" fmla="*/ 0 h 6858000"/>
              <a:gd name="connsiteX2" fmla="*/ 1714501 w 1714501"/>
              <a:gd name="connsiteY2" fmla="*/ 6858000 h 6858000"/>
              <a:gd name="connsiteX3" fmla="*/ 0 w 17145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4501" h="6858000">
                <a:moveTo>
                  <a:pt x="0" y="0"/>
                </a:moveTo>
                <a:lnTo>
                  <a:pt x="1714501" y="0"/>
                </a:lnTo>
                <a:lnTo>
                  <a:pt x="171450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9FBC621-B276-A5CB-34BC-78038BD50841}"/>
              </a:ext>
            </a:extLst>
          </p:cNvPr>
          <p:cNvSpPr txBox="1"/>
          <p:nvPr userDrawn="1"/>
        </p:nvSpPr>
        <p:spPr>
          <a:xfrm>
            <a:off x="2295525" y="552747"/>
            <a:ext cx="2319485" cy="5899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ts val="4600"/>
              </a:lnSpc>
            </a:pPr>
            <a:r>
              <a:rPr lang="en-US" sz="4400" b="0" i="0">
                <a:solidFill>
                  <a:srgbClr val="22272B"/>
                </a:solidFill>
                <a:latin typeface="+mj-lt"/>
                <a:ea typeface="Roboto Light" panose="02000000000000000000" pitchFamily="2" charset="0"/>
              </a:rPr>
              <a:t>Agenda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507C56E-095B-1E4C-F660-95AA7BFDE4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88538" y="342608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A65E5A1-5EA6-A108-06AA-98A0385FD52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88538" y="431542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B42807C-6DF6-C20C-8627-092E472B23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88538" y="520476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4612555-31F5-7A4F-0C39-658D91E98A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88538" y="253674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BF17854-4479-BE71-7B17-E697E63BB7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88538" y="1647401"/>
            <a:ext cx="566450" cy="566450"/>
          </a:xfrm>
          <a:prstGeom prst="roundRect">
            <a:avLst>
              <a:gd name="adj" fmla="val 9330"/>
            </a:avLst>
          </a:prstGeom>
          <a:solidFill>
            <a:srgbClr val="00A0CC"/>
          </a:solidFill>
        </p:spPr>
        <p:txBody>
          <a:bodyPr lIns="0" rIns="0" anchor="ctr">
            <a:noAutofit/>
          </a:bodyPr>
          <a:lstStyle>
            <a:lvl1pPr algn="ctr">
              <a:lnSpc>
                <a:spcPct val="110000"/>
              </a:lnSpc>
              <a:defRPr sz="2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44510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1.bin"/><Relationship Id="rId5" Type="http://schemas.openxmlformats.org/officeDocument/2006/relationships/tags" Target="../tags/tag5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hyperlink" Target="http://www.axway.com/" TargetMode="Externa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hyperlink" Target="http://www.axway.com/" TargetMode="Externa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tags" Target="../tags/tag1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629763-4043-B23D-96FB-19B55324D0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78473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629763-4043-B23D-96FB-19B55324D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5965"/>
            <a:ext cx="10668000" cy="5984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1219200"/>
            <a:ext cx="10668000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8561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2" r:id="rId2"/>
    <p:sldLayoutId id="2147483779" r:id="rId3"/>
    <p:sldLayoutId id="2147483917" r:id="rId4"/>
    <p:sldLayoutId id="214748391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629763-4043-B23D-96FB-19B55324D0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78473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629763-4043-B23D-96FB-19B55324D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5965"/>
            <a:ext cx="10668000" cy="5984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1219200"/>
            <a:ext cx="10668000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792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897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B28C57F-256B-B0BA-5C7C-BF9241DFB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76663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28C57F-256B-B0BA-5C7C-BF9241DFB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5965"/>
            <a:ext cx="10668000" cy="5984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Heading in sentenc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1295400"/>
            <a:ext cx="106680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88FBEF-C0FF-E944-B50F-249B605B39E7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N°›</a:t>
            </a:fld>
            <a:endParaRPr lang="en-US" sz="9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184C4D-BD2F-4852-8E12-43E60937B30A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 dirty="0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  <a:hlinkClick r:id="rId7"/>
              </a:rPr>
              <a:t>axway.com</a:t>
            </a:r>
            <a:endParaRPr lang="en-US" sz="1000" u="sng" dirty="0">
              <a:solidFill>
                <a:srgbClr val="7030A0"/>
              </a:solidFill>
              <a:latin typeface="Roboto" panose="02000000000000000000" pitchFamily="2" charset="0"/>
              <a:ea typeface="Roboto" panose="02000000000000000000" pitchFamily="2" charset="0"/>
              <a:cs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7528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0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+mj-lt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>
          <p15:clr>
            <a:srgbClr val="F26B43"/>
          </p15:clr>
        </p15:guide>
        <p15:guide id="2" pos="960">
          <p15:clr>
            <a:srgbClr val="F26B43"/>
          </p15:clr>
        </p15:guide>
        <p15:guide id="3" pos="1440">
          <p15:clr>
            <a:srgbClr val="F26B43"/>
          </p15:clr>
        </p15:guide>
        <p15:guide id="4" pos="1920">
          <p15:clr>
            <a:srgbClr val="F26B43"/>
          </p15:clr>
        </p15:guide>
        <p15:guide id="5" pos="2400">
          <p15:clr>
            <a:srgbClr val="F26B43"/>
          </p15:clr>
        </p15:guide>
        <p15:guide id="6" pos="2880">
          <p15:clr>
            <a:srgbClr val="F26B43"/>
          </p15:clr>
        </p15:guide>
        <p15:guide id="7" pos="3360">
          <p15:clr>
            <a:srgbClr val="F26B43"/>
          </p15:clr>
        </p15:guide>
        <p15:guide id="8" pos="3840">
          <p15:clr>
            <a:srgbClr val="F26B43"/>
          </p15:clr>
        </p15:guide>
        <p15:guide id="9" pos="4320">
          <p15:clr>
            <a:srgbClr val="F26B43"/>
          </p15:clr>
        </p15:guide>
        <p15:guide id="10" pos="4800">
          <p15:clr>
            <a:srgbClr val="F26B43"/>
          </p15:clr>
        </p15:guide>
        <p15:guide id="11" pos="5280">
          <p15:clr>
            <a:srgbClr val="F26B43"/>
          </p15:clr>
        </p15:guide>
        <p15:guide id="12" pos="5760">
          <p15:clr>
            <a:srgbClr val="F26B43"/>
          </p15:clr>
        </p15:guide>
        <p15:guide id="13" pos="6240">
          <p15:clr>
            <a:srgbClr val="F26B43"/>
          </p15:clr>
        </p15:guide>
        <p15:guide id="14" pos="6720">
          <p15:clr>
            <a:srgbClr val="F26B43"/>
          </p15:clr>
        </p15:guide>
        <p15:guide id="15" pos="720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B28C57F-256B-B0BA-5C7C-BF9241DFB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976663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25" imgH="424" progId="TCLayout.ActiveDocument.1">
                  <p:embed/>
                </p:oleObj>
              </mc:Choice>
              <mc:Fallback>
                <p:oleObj name="think-cell Slide" r:id="rId26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28C57F-256B-B0BA-5C7C-BF9241DFB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315965"/>
            <a:ext cx="10668000" cy="5984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Heading in sentenc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1295400"/>
            <a:ext cx="106680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88FBEF-C0FF-E944-B50F-249B605B39E7}"/>
              </a:ext>
            </a:extLst>
          </p:cNvPr>
          <p:cNvSpPr txBox="1"/>
          <p:nvPr userDrawn="1"/>
        </p:nvSpPr>
        <p:spPr>
          <a:xfrm>
            <a:off x="11125200" y="6558033"/>
            <a:ext cx="762000" cy="1431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fld id="{320B2785-63E8-9A40-BA56-20F37A92678E}" type="slidenum">
              <a:rPr lang="en-US" sz="900" smtClean="0">
                <a:latin typeface="Roboto" panose="02000000000000000000" pitchFamily="2" charset="0"/>
                <a:ea typeface="Roboto" panose="02000000000000000000" pitchFamily="2" charset="0"/>
              </a:rPr>
              <a:pPr algn="r">
                <a:lnSpc>
                  <a:spcPct val="110000"/>
                </a:lnSpc>
              </a:pPr>
              <a:t>‹N°›</a:t>
            </a:fld>
            <a:endParaRPr lang="en-US" sz="9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184C4D-BD2F-4852-8E12-43E60937B30A}"/>
              </a:ext>
            </a:extLst>
          </p:cNvPr>
          <p:cNvSpPr txBox="1"/>
          <p:nvPr userDrawn="1"/>
        </p:nvSpPr>
        <p:spPr>
          <a:xfrm>
            <a:off x="9494587" y="6550081"/>
            <a:ext cx="1935413" cy="1590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000" u="sng" dirty="0">
                <a:solidFill>
                  <a:srgbClr val="7030A0"/>
                </a:solidFill>
                <a:latin typeface="Roboto" panose="02000000000000000000" pitchFamily="2" charset="0"/>
                <a:ea typeface="Roboto" panose="02000000000000000000" pitchFamily="2" charset="0"/>
                <a:cs typeface="Roboto Condensed Light" panose="02000000000000000000" pitchFamily="2" charset="0"/>
                <a:hlinkClick r:id="rId28"/>
              </a:rPr>
              <a:t>axway.com</a:t>
            </a:r>
            <a:endParaRPr lang="en-US" sz="1000" u="sng" dirty="0">
              <a:solidFill>
                <a:srgbClr val="7030A0"/>
              </a:solidFill>
              <a:latin typeface="Roboto" panose="02000000000000000000" pitchFamily="2" charset="0"/>
              <a:ea typeface="Roboto" panose="02000000000000000000" pitchFamily="2" charset="0"/>
              <a:cs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921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692" r:id="rId2"/>
    <p:sldLayoutId id="2147483812" r:id="rId3"/>
    <p:sldLayoutId id="2147483913" r:id="rId4"/>
    <p:sldLayoutId id="2147483695" r:id="rId5"/>
    <p:sldLayoutId id="2147483709" r:id="rId6"/>
    <p:sldLayoutId id="2147483914" r:id="rId7"/>
    <p:sldLayoutId id="2147483823" r:id="rId8"/>
    <p:sldLayoutId id="2147483800" r:id="rId9"/>
    <p:sldLayoutId id="2147483815" r:id="rId10"/>
    <p:sldLayoutId id="2147483798" r:id="rId11"/>
    <p:sldLayoutId id="2147483803" r:id="rId12"/>
    <p:sldLayoutId id="2147483817" r:id="rId13"/>
    <p:sldLayoutId id="2147483811" r:id="rId14"/>
    <p:sldLayoutId id="2147483820" r:id="rId15"/>
    <p:sldLayoutId id="2147483853" r:id="rId16"/>
    <p:sldLayoutId id="2147483864" r:id="rId17"/>
    <p:sldLayoutId id="2147483846" r:id="rId18"/>
    <p:sldLayoutId id="2147483883" r:id="rId19"/>
    <p:sldLayoutId id="2147483813" r:id="rId20"/>
    <p:sldLayoutId id="2147483810" r:id="rId21"/>
    <p:sldLayoutId id="2147483781" r:id="rId22"/>
    <p:sldLayoutId id="2147483847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+mj-lt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0DDE5F6-D60C-F7CC-AFBF-A4EEBCE77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0101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DDE5F6-D60C-F7CC-AFBF-A4EEBCE77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52401"/>
            <a:ext cx="10668000" cy="685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2160" y="1066800"/>
            <a:ext cx="10657840" cy="487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0206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799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0DDE5F6-D60C-F7CC-AFBF-A4EEBCE77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101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DDE5F6-D60C-F7CC-AFBF-A4EEBCE77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8884E-4BDB-5046-975B-F847B0DE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52401"/>
            <a:ext cx="10668000" cy="685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1D3EA-58E4-2B42-B235-4BD792C5E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2160" y="1066800"/>
            <a:ext cx="10657840" cy="487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6331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0" i="0" kern="1200">
          <a:solidFill>
            <a:srgbClr val="22272B"/>
          </a:solidFill>
          <a:latin typeface="Roboto Light" panose="02000000000000000000" pitchFamily="2" charset="0"/>
          <a:ea typeface="Roboto Light" panose="02000000000000000000" pitchFamily="2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22272B"/>
          </a:solidFill>
          <a:latin typeface="+mn-lt"/>
          <a:ea typeface="Roboto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960" userDrawn="1">
          <p15:clr>
            <a:srgbClr val="F26B43"/>
          </p15:clr>
        </p15:guide>
        <p15:guide id="3" pos="144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240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33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4320" userDrawn="1">
          <p15:clr>
            <a:srgbClr val="F26B43"/>
          </p15:clr>
        </p15:guide>
        <p15:guide id="10" pos="4800" userDrawn="1">
          <p15:clr>
            <a:srgbClr val="F26B43"/>
          </p15:clr>
        </p15:guide>
        <p15:guide id="11" pos="5280" userDrawn="1">
          <p15:clr>
            <a:srgbClr val="F26B43"/>
          </p15:clr>
        </p15:guide>
        <p15:guide id="12" pos="5760" userDrawn="1">
          <p15:clr>
            <a:srgbClr val="F26B43"/>
          </p15:clr>
        </p15:guide>
        <p15:guide id="13" pos="6240" userDrawn="1">
          <p15:clr>
            <a:srgbClr val="F26B43"/>
          </p15:clr>
        </p15:guide>
        <p15:guide id="14" pos="6720" userDrawn="1">
          <p15:clr>
            <a:srgbClr val="F26B43"/>
          </p15:clr>
        </p15:guide>
        <p15:guide id="15" pos="72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4" Type="http://schemas.openxmlformats.org/officeDocument/2006/relationships/image" Target="../media/image7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4" Type="http://schemas.openxmlformats.org/officeDocument/2006/relationships/image" Target="../media/image6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Relationship Id="rId4" Type="http://schemas.openxmlformats.org/officeDocument/2006/relationships/image" Target="../media/image6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BF62E13-6B69-2C14-A07A-0F5EB4A40C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79" y="1080000"/>
            <a:ext cx="5723259" cy="1969770"/>
          </a:xfrm>
        </p:spPr>
        <p:txBody>
          <a:bodyPr/>
          <a:lstStyle/>
          <a:p>
            <a:r>
              <a:rPr lang="en-US" dirty="0">
                <a:latin typeface="+mn-lt"/>
              </a:rPr>
              <a:t>Create Voice Project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EFF5B52-4F0B-55B0-DDF8-881E7CB23A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20BC646B-5316-7B6B-DC9C-8124AA6D96C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Using Elevenlabs.io to create voice over for eLearn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618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29"/>
    </mc:Choice>
    <mc:Fallback xmlns="">
      <p:transition spd="slow" advTm="102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4B12B-60EA-711F-4A1D-EA7738E41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Voice Over Trac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014CD8-2586-2F53-A891-11B2C8A58C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13424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4E2EF59F-CDD3-007E-FC5E-9664C295B82C}"/>
              </a:ext>
            </a:extLst>
          </p:cNvPr>
          <p:cNvGrpSpPr/>
          <p:nvPr/>
        </p:nvGrpSpPr>
        <p:grpSpPr>
          <a:xfrm>
            <a:off x="2518410" y="500698"/>
            <a:ext cx="885825" cy="467735"/>
            <a:chOff x="84841" y="1998483"/>
            <a:chExt cx="799932" cy="46773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99549F8D-18C3-4661-2730-2ECB924A2F34}"/>
                </a:ext>
              </a:extLst>
            </p:cNvPr>
            <p:cNvSpPr/>
            <p:nvPr/>
          </p:nvSpPr>
          <p:spPr>
            <a:xfrm>
              <a:off x="84841" y="1998483"/>
              <a:ext cx="799932" cy="457200"/>
            </a:xfrm>
            <a:prstGeom prst="round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A448EB66-5605-F6AA-D97C-47C194F2A724}"/>
                </a:ext>
              </a:extLst>
            </p:cNvPr>
            <p:cNvSpPr/>
            <p:nvPr/>
          </p:nvSpPr>
          <p:spPr>
            <a:xfrm>
              <a:off x="459246" y="2009018"/>
              <a:ext cx="412868" cy="45720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Roboto Mono" panose="00000009000000000000" pitchFamily="49" charset="0"/>
                  <a:ea typeface="Roboto Mono" panose="00000009000000000000" pitchFamily="49" charset="0"/>
                </a:rPr>
                <a:t>1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813A75B-AA57-5109-157E-2176365F13EB}"/>
              </a:ext>
            </a:extLst>
          </p:cNvPr>
          <p:cNvGrpSpPr/>
          <p:nvPr/>
        </p:nvGrpSpPr>
        <p:grpSpPr>
          <a:xfrm>
            <a:off x="4363132" y="926054"/>
            <a:ext cx="5313131" cy="460911"/>
            <a:chOff x="84841" y="1998483"/>
            <a:chExt cx="799932" cy="460911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6FCF3860-7BC7-4C94-265F-B8A99F7542D1}"/>
                </a:ext>
              </a:extLst>
            </p:cNvPr>
            <p:cNvSpPr/>
            <p:nvPr/>
          </p:nvSpPr>
          <p:spPr>
            <a:xfrm>
              <a:off x="84841" y="1998483"/>
              <a:ext cx="799932" cy="457200"/>
            </a:xfrm>
            <a:prstGeom prst="round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D4BCCEF-7A1A-DA5E-8CCC-EA3CBFFFB367}"/>
                </a:ext>
              </a:extLst>
            </p:cNvPr>
            <p:cNvSpPr/>
            <p:nvPr/>
          </p:nvSpPr>
          <p:spPr>
            <a:xfrm>
              <a:off x="814057" y="2002194"/>
              <a:ext cx="68835" cy="45720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Roboto Mono" panose="00000009000000000000" pitchFamily="49" charset="0"/>
                  <a:ea typeface="Roboto Mono" panose="00000009000000000000" pitchFamily="49" charset="0"/>
                </a:rPr>
                <a:t>2</a:t>
              </a: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85D0E2BF-A802-C2A5-4CAE-63AD60D304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6677" y="367111"/>
            <a:ext cx="1281484" cy="80765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90149B2-4DD8-9200-31E2-334DD74EA836}"/>
              </a:ext>
            </a:extLst>
          </p:cNvPr>
          <p:cNvSpPr txBox="1"/>
          <p:nvPr/>
        </p:nvSpPr>
        <p:spPr>
          <a:xfrm>
            <a:off x="2678373" y="1949252"/>
            <a:ext cx="6770427" cy="23083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600" dirty="0"/>
              <a:t>Create a new chapter. NOTE: The default name is Chapter XX where XX is the chapter number. You need to rename this to </a:t>
            </a:r>
            <a:r>
              <a:rPr lang="en-US" sz="1600" dirty="0" err="1"/>
              <a:t>slidexx</a:t>
            </a:r>
            <a:r>
              <a:rPr lang="en-US" sz="1600" dirty="0"/>
              <a:t> (no space). There is no way to set this up in settings, it must be changed one by one. It’s best to do it when you create the chapter.</a:t>
            </a:r>
          </a:p>
          <a:p>
            <a:pPr marL="342900" indent="-342900">
              <a:buAutoNum type="arabicPeriod"/>
            </a:pPr>
            <a:r>
              <a:rPr lang="en-US" sz="1600" dirty="0"/>
              <a:t>Enter your text. You can copy/paste or type. NOTE, copy/paste from Office documents might give you artifacts. If it does, copy/paste to notepad first.</a:t>
            </a:r>
          </a:p>
          <a:p>
            <a:endParaRPr lang="en-US" sz="1600" dirty="0"/>
          </a:p>
          <a:p>
            <a:r>
              <a:rPr lang="en-US" sz="1600" dirty="0"/>
              <a:t>Repeat these steps to create more audio. There is no “save” butt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073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963"/>
    </mc:Choice>
    <mc:Fallback xmlns="">
      <p:transition spd="slow" advTm="102963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6EE79A-888C-D5D6-84C7-893DC24778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86F866-B136-397B-5FF2-283C846A6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rt Audio Files from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4688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58650AD-90DE-D76B-084E-3718103EC4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13424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A3D8973-4C1E-ACD9-8BE8-DC1A18B9316B}"/>
              </a:ext>
            </a:extLst>
          </p:cNvPr>
          <p:cNvSpPr/>
          <p:nvPr/>
        </p:nvSpPr>
        <p:spPr>
          <a:xfrm>
            <a:off x="-90055" y="803564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F456D65-2879-92A1-B321-A255951CF3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6334" y="1541466"/>
            <a:ext cx="3513124" cy="37341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325C65E-FE28-85B9-D138-22CF42B1EE7C}"/>
              </a:ext>
            </a:extLst>
          </p:cNvPr>
          <p:cNvSpPr txBox="1"/>
          <p:nvPr/>
        </p:nvSpPr>
        <p:spPr>
          <a:xfrm>
            <a:off x="4690960" y="2669634"/>
            <a:ext cx="5706876" cy="37457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sz="1600" dirty="0"/>
              <a:t>You can select full project or single chap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F614B7-79B8-6B80-518F-04E1B9546421}"/>
              </a:ext>
            </a:extLst>
          </p:cNvPr>
          <p:cNvSpPr txBox="1"/>
          <p:nvPr/>
        </p:nvSpPr>
        <p:spPr>
          <a:xfrm>
            <a:off x="4659114" y="3135932"/>
            <a:ext cx="5752577" cy="37457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sz="1600" dirty="0"/>
              <a:t>You can select single file or zip. For full projects, we use .zip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514708-EECD-3F39-525E-242A8E91B741}"/>
              </a:ext>
            </a:extLst>
          </p:cNvPr>
          <p:cNvSpPr txBox="1"/>
          <p:nvPr/>
        </p:nvSpPr>
        <p:spPr>
          <a:xfrm>
            <a:off x="4645260" y="3766314"/>
            <a:ext cx="5766432" cy="37457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sz="1600" dirty="0"/>
              <a:t>Select .wav for expor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60E415-AB59-8DFD-8B71-19C655AC8E13}"/>
              </a:ext>
            </a:extLst>
          </p:cNvPr>
          <p:cNvSpPr txBox="1"/>
          <p:nvPr/>
        </p:nvSpPr>
        <p:spPr>
          <a:xfrm>
            <a:off x="4672969" y="4655344"/>
            <a:ext cx="5766432" cy="64698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sz="1600" dirty="0"/>
              <a:t>Click Export will process your audio. If the download doesn’t start, you can click download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943316E-F575-1611-ED1E-1C4152F751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65472" y="5227884"/>
            <a:ext cx="2628301" cy="13860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419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ED8236-AE16-BBB8-99F9-76FD6083FA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71B77F-BD15-EF69-069C-62883BB0F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oubleshoo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558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645EEC6-4F72-9775-275D-AED536220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oubleshoot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871376-7D3D-99A3-0A61-AA01098292C1}"/>
              </a:ext>
            </a:extLst>
          </p:cNvPr>
          <p:cNvSpPr txBox="1"/>
          <p:nvPr/>
        </p:nvSpPr>
        <p:spPr>
          <a:xfrm>
            <a:off x="1460310" y="1344304"/>
            <a:ext cx="10281417" cy="46166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rgbClr val="22272B"/>
                </a:solidFill>
              </a:rPr>
              <a:t>If the voice isn’t behaving the way you like, some things you can try.</a:t>
            </a:r>
          </a:p>
          <a:p>
            <a:pPr algn="l"/>
            <a:endParaRPr lang="en-US" sz="2000" dirty="0">
              <a:solidFill>
                <a:srgbClr val="22272B"/>
              </a:solidFill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22272B"/>
                </a:solidFill>
              </a:rPr>
              <a:t>Add a _ to the beginning of the word. Helpful for read, live, or any word that has multiple pronunciations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22272B"/>
                </a:solidFill>
              </a:rPr>
              <a:t>Group words together with “double quotes” when you want the correct emphasis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22272B"/>
                </a:solidFill>
              </a:rPr>
              <a:t>Spell words </a:t>
            </a:r>
            <a:r>
              <a:rPr lang="en-US" sz="2000" dirty="0" err="1">
                <a:solidFill>
                  <a:srgbClr val="22272B"/>
                </a:solidFill>
              </a:rPr>
              <a:t>phoenetically</a:t>
            </a:r>
            <a:r>
              <a:rPr lang="en-US" sz="2000" dirty="0">
                <a:solidFill>
                  <a:srgbClr val="22272B"/>
                </a:solidFill>
              </a:rPr>
              <a:t>. JSON = </a:t>
            </a:r>
            <a:r>
              <a:rPr lang="en-US" sz="2000" dirty="0" err="1">
                <a:solidFill>
                  <a:srgbClr val="22272B"/>
                </a:solidFill>
              </a:rPr>
              <a:t>jsawn</a:t>
            </a:r>
            <a:r>
              <a:rPr lang="en-US" sz="2000" dirty="0">
                <a:solidFill>
                  <a:srgbClr val="22272B"/>
                </a:solidFill>
              </a:rPr>
              <a:t> for example.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22272B"/>
                </a:solidFill>
              </a:rPr>
              <a:t>Add a space dash space ( - ) to add a natural pause.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22272B"/>
                </a:solidFill>
              </a:rPr>
              <a:t>Sometimes when you click + to add a slide there is a long delay. This is normal.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22272B"/>
                </a:solidFill>
              </a:rPr>
              <a:t>Sometimes you process, there is a long delay. This is normal.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22272B"/>
                </a:solidFill>
              </a:rPr>
              <a:t>You can double click the chapter name to rename it.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22272B"/>
                </a:solidFill>
              </a:rPr>
              <a:t>If the UI becomes unresponsive, refresh the screen (F5 PC, CMD-R for mac).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endParaRPr lang="en-US" sz="2000" dirty="0">
              <a:solidFill>
                <a:srgbClr val="22272B"/>
              </a:solidFill>
            </a:endParaRPr>
          </a:p>
          <a:p>
            <a:pPr algn="l"/>
            <a:endParaRPr lang="en-US" sz="2000" dirty="0">
              <a:solidFill>
                <a:srgbClr val="22272B"/>
              </a:solidFill>
            </a:endParaRPr>
          </a:p>
          <a:p>
            <a:pPr algn="l"/>
            <a:r>
              <a:rPr lang="en-US" sz="2000" dirty="0">
                <a:solidFill>
                  <a:srgbClr val="22272B"/>
                </a:solidFill>
              </a:rPr>
              <a:t>If the quality isn’t correct, click on the passage that has poor quality and click Generate/Regenerate at the top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445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au 5">
            <a:extLst>
              <a:ext uri="{FF2B5EF4-FFF2-40B4-BE49-F238E27FC236}">
                <a16:creationId xmlns:a16="http://schemas.microsoft.com/office/drawing/2014/main" id="{0F1AB8D4-A881-4F94-959F-CB0FDEE93E2D}"/>
              </a:ext>
            </a:extLst>
          </p:cNvPr>
          <p:cNvGraphicFramePr>
            <a:graphicFrameLocks noGrp="1"/>
          </p:cNvGraphicFramePr>
          <p:nvPr/>
        </p:nvGraphicFramePr>
        <p:xfrm>
          <a:off x="602973" y="1900486"/>
          <a:ext cx="10880036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575">
                  <a:extLst>
                    <a:ext uri="{9D8B030D-6E8A-4147-A177-3AD203B41FA5}">
                      <a16:colId xmlns:a16="http://schemas.microsoft.com/office/drawing/2014/main" val="2961533418"/>
                    </a:ext>
                  </a:extLst>
                </a:gridCol>
                <a:gridCol w="8143461">
                  <a:extLst>
                    <a:ext uri="{9D8B030D-6E8A-4147-A177-3AD203B41FA5}">
                      <a16:colId xmlns:a16="http://schemas.microsoft.com/office/drawing/2014/main" val="41237857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b="1" dirty="0" err="1">
                          <a:solidFill>
                            <a:schemeClr val="bg1"/>
                          </a:solidFill>
                        </a:rPr>
                        <a:t>Owner</a:t>
                      </a:r>
                      <a:r>
                        <a:rPr lang="fr-FR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b="1" dirty="0" err="1">
                          <a:solidFill>
                            <a:schemeClr val="bg1"/>
                          </a:solidFill>
                        </a:rPr>
                        <a:t>name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227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b="1" dirty="0">
                          <a:solidFill>
                            <a:schemeClr val="bg1"/>
                          </a:solidFill>
                        </a:rPr>
                        <a:t>Team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47483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b="1" dirty="0">
                          <a:solidFill>
                            <a:schemeClr val="bg1"/>
                          </a:solidFill>
                        </a:rPr>
                        <a:t>R</a:t>
                      </a:r>
                      <a:r>
                        <a:rPr lang="fr-FR" b="1">
                          <a:solidFill>
                            <a:schemeClr val="bg1"/>
                          </a:solidFill>
                        </a:rPr>
                        <a:t>esource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9009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b="1" dirty="0">
                          <a:solidFill>
                            <a:schemeClr val="bg1"/>
                          </a:solidFill>
                        </a:rPr>
                        <a:t>Tools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128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Descrip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690517"/>
                  </a:ext>
                </a:extLst>
              </a:tr>
            </a:tbl>
          </a:graphicData>
        </a:graphic>
      </p:graphicFrame>
      <p:graphicFrame>
        <p:nvGraphicFramePr>
          <p:cNvPr id="41" name="Tableau 2">
            <a:extLst>
              <a:ext uri="{FF2B5EF4-FFF2-40B4-BE49-F238E27FC236}">
                <a16:creationId xmlns:a16="http://schemas.microsoft.com/office/drawing/2014/main" id="{AD0C5357-4524-44CF-9EBF-3EFFD4DD3857}"/>
              </a:ext>
            </a:extLst>
          </p:cNvPr>
          <p:cNvGraphicFramePr>
            <a:graphicFrameLocks noGrp="1"/>
          </p:cNvGraphicFramePr>
          <p:nvPr/>
        </p:nvGraphicFramePr>
        <p:xfrm>
          <a:off x="590042" y="4587839"/>
          <a:ext cx="1088004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8004">
                  <a:extLst>
                    <a:ext uri="{9D8B030D-6E8A-4147-A177-3AD203B41FA5}">
                      <a16:colId xmlns:a16="http://schemas.microsoft.com/office/drawing/2014/main" val="3753324219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1039103175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1462523409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423647713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1682151051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729811086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637958015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1592962583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2588044287"/>
                    </a:ext>
                  </a:extLst>
                </a:gridCol>
                <a:gridCol w="1088004">
                  <a:extLst>
                    <a:ext uri="{9D8B030D-6E8A-4147-A177-3AD203B41FA5}">
                      <a16:colId xmlns:a16="http://schemas.microsoft.com/office/drawing/2014/main" val="2514981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dirty="0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dirty="0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dirty="0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dirty="0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dirty="0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dirty="0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dirty="0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dirty="0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U </a:t>
                      </a:r>
                      <a:r>
                        <a:rPr lang="fr-FR" dirty="0" err="1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mber</a:t>
                      </a:r>
                      <a:r>
                        <a:rPr lang="fr-FR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endParaRPr lang="en-US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rgbClr val="006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06459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200" dirty="0"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Date</a:t>
                      </a:r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841145"/>
                  </a:ext>
                </a:extLst>
              </a:tr>
            </a:tbl>
          </a:graphicData>
        </a:graphic>
      </p:graphicFrame>
      <p:sp>
        <p:nvSpPr>
          <p:cNvPr id="43" name="Title 42">
            <a:extLst>
              <a:ext uri="{FF2B5EF4-FFF2-40B4-BE49-F238E27FC236}">
                <a16:creationId xmlns:a16="http://schemas.microsoft.com/office/drawing/2014/main" id="{6B5094A8-952D-D051-D932-C088B1B20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 Inf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898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1065"/>
    </mc:Choice>
    <mc:Fallback xmlns="">
      <p:transition spd="slow" advTm="91065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3A2FAC-4307-61ED-7568-F58AA35BF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new </a:t>
            </a:r>
            <a:r>
              <a:rPr lang="en-US" dirty="0" err="1"/>
              <a:t>Elevenlabs</a:t>
            </a:r>
            <a:r>
              <a:rPr lang="en-US" dirty="0"/>
              <a:t> Studio Projec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A164E7-43D9-B6C2-EF0E-0DAA3FBD8A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083247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75863F62-6866-F343-924A-7B5C575AC0DD}"/>
              </a:ext>
            </a:extLst>
          </p:cNvPr>
          <p:cNvGrpSpPr/>
          <p:nvPr/>
        </p:nvGrpSpPr>
        <p:grpSpPr>
          <a:xfrm>
            <a:off x="84841" y="1998483"/>
            <a:ext cx="1668544" cy="466626"/>
            <a:chOff x="84841" y="1998483"/>
            <a:chExt cx="1668544" cy="466626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FA6DAAF5-6270-51BD-E248-1997F7BAFEE1}"/>
                </a:ext>
              </a:extLst>
            </p:cNvPr>
            <p:cNvSpPr/>
            <p:nvPr/>
          </p:nvSpPr>
          <p:spPr>
            <a:xfrm>
              <a:off x="84841" y="1998483"/>
              <a:ext cx="1668544" cy="457200"/>
            </a:xfrm>
            <a:prstGeom prst="round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AFCDE88C-8537-F3A6-8A93-A7D9F81AC565}"/>
                </a:ext>
              </a:extLst>
            </p:cNvPr>
            <p:cNvSpPr/>
            <p:nvPr/>
          </p:nvSpPr>
          <p:spPr>
            <a:xfrm>
              <a:off x="1291473" y="2007909"/>
              <a:ext cx="457200" cy="45720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Roboto Mono" panose="00000009000000000000" pitchFamily="49" charset="0"/>
                  <a:ea typeface="Roboto Mono" panose="00000009000000000000" pitchFamily="49" charset="0"/>
                </a:rPr>
                <a:t>1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352FA4A-7AC7-D31D-07FF-0D13200EAEA6}"/>
              </a:ext>
            </a:extLst>
          </p:cNvPr>
          <p:cNvSpPr txBox="1"/>
          <p:nvPr/>
        </p:nvSpPr>
        <p:spPr>
          <a:xfrm>
            <a:off x="1715678" y="1998483"/>
            <a:ext cx="1462765" cy="4572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none" rtlCol="0" anchor="ctr">
            <a:spAutoFit/>
          </a:bodyPr>
          <a:lstStyle/>
          <a:p>
            <a:r>
              <a:rPr lang="en-US" dirty="0"/>
              <a:t>Open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212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963"/>
    </mc:Choice>
    <mc:Fallback xmlns="">
      <p:transition spd="slow" advTm="102963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4B12B-60EA-711F-4A1D-EA7738E41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new projec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A04841-4DB3-6F12-CD7F-78CCD4A2CD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083247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5456EF8-DDA3-537B-3725-477766A39087}"/>
              </a:ext>
            </a:extLst>
          </p:cNvPr>
          <p:cNvSpPr/>
          <p:nvPr/>
        </p:nvSpPr>
        <p:spPr>
          <a:xfrm>
            <a:off x="3685880" y="1517716"/>
            <a:ext cx="1715679" cy="1272617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F56C616-2C54-EB10-76FC-02DB76AE16F0}"/>
              </a:ext>
            </a:extLst>
          </p:cNvPr>
          <p:cNvSpPr/>
          <p:nvPr/>
        </p:nvSpPr>
        <p:spPr>
          <a:xfrm>
            <a:off x="4949072" y="1527142"/>
            <a:ext cx="457200" cy="1271016"/>
          </a:xfrm>
          <a:prstGeom prst="roundRect">
            <a:avLst>
              <a:gd name="adj" fmla="val 3728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Roboto Mono" panose="00000009000000000000" pitchFamily="49" charset="0"/>
                <a:ea typeface="Roboto Mono" panose="00000009000000000000" pitchFamily="49" charset="0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46CEED-96CB-1246-06DE-2ACE9B2E4653}"/>
              </a:ext>
            </a:extLst>
          </p:cNvPr>
          <p:cNvSpPr txBox="1"/>
          <p:nvPr/>
        </p:nvSpPr>
        <p:spPr>
          <a:xfrm>
            <a:off x="5416192" y="1981476"/>
            <a:ext cx="2929414" cy="4086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dirty="0"/>
              <a:t>Click Start from Scratc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9824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963"/>
    </mc:Choice>
    <mc:Fallback xmlns="">
      <p:transition spd="slow" advTm="102963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4B12B-60EA-711F-4A1D-EA7738E41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new projec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3ED5FEB-3CDE-E868-3077-CE3CF8120B7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0"/>
            <a:ext cx="12192000" cy="608324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933492D-3E5E-FB18-C606-2D02992518ED}"/>
              </a:ext>
            </a:extLst>
          </p:cNvPr>
          <p:cNvSpPr txBox="1"/>
          <p:nvPr/>
        </p:nvSpPr>
        <p:spPr>
          <a:xfrm>
            <a:off x="7833674" y="1471734"/>
            <a:ext cx="3846136" cy="57888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sz="1400" dirty="0"/>
              <a:t>Click the menu in the top </a:t>
            </a:r>
          </a:p>
          <a:p>
            <a:r>
              <a:rPr lang="en-US" sz="1400" dirty="0"/>
              <a:t>right, click Project Setting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5003585-C9C6-76D3-F874-BF38D77CB6EC}"/>
              </a:ext>
            </a:extLst>
          </p:cNvPr>
          <p:cNvGrpSpPr/>
          <p:nvPr/>
        </p:nvGrpSpPr>
        <p:grpSpPr>
          <a:xfrm rot="16200000">
            <a:off x="10457861" y="826023"/>
            <a:ext cx="1944279" cy="457200"/>
            <a:chOff x="84841" y="1998483"/>
            <a:chExt cx="1668544" cy="457200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61A7EA5-CA1C-B75A-87FA-2EE8BEC8C991}"/>
                </a:ext>
              </a:extLst>
            </p:cNvPr>
            <p:cNvSpPr/>
            <p:nvPr/>
          </p:nvSpPr>
          <p:spPr>
            <a:xfrm>
              <a:off x="84841" y="1998483"/>
              <a:ext cx="1668544" cy="457200"/>
            </a:xfrm>
            <a:prstGeom prst="round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D43D242B-881A-F1C3-4253-0A49E5D47136}"/>
                </a:ext>
              </a:extLst>
            </p:cNvPr>
            <p:cNvSpPr/>
            <p:nvPr/>
          </p:nvSpPr>
          <p:spPr>
            <a:xfrm rot="5400000">
              <a:off x="84842" y="1998483"/>
              <a:ext cx="457200" cy="45720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Roboto Mono" panose="00000009000000000000" pitchFamily="49" charset="0"/>
                  <a:ea typeface="Roboto Mono" panose="00000009000000000000" pitchFamily="49" charset="0"/>
                </a:rPr>
                <a:t>3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377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963"/>
    </mc:Choice>
    <mc:Fallback xmlns="">
      <p:transition spd="slow" advTm="102963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4B12B-60EA-711F-4A1D-EA7738E41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new projec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EA5A55-5435-B35F-8E32-3C0C64B64B3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" y="0"/>
            <a:ext cx="12191998" cy="60832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6BF19DD-88CF-F932-A923-5CA5AE3E44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8382" y="188535"/>
            <a:ext cx="6537660" cy="5790499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4DA54FA-B3E9-F0E2-2A0B-0022CDD500C2}"/>
              </a:ext>
            </a:extLst>
          </p:cNvPr>
          <p:cNvGrpSpPr/>
          <p:nvPr/>
        </p:nvGrpSpPr>
        <p:grpSpPr>
          <a:xfrm>
            <a:off x="4873657" y="1819373"/>
            <a:ext cx="4355184" cy="466626"/>
            <a:chOff x="84841" y="1998483"/>
            <a:chExt cx="1668544" cy="466626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61C36ADD-9E9B-F3C0-B27C-0913DBD13984}"/>
                </a:ext>
              </a:extLst>
            </p:cNvPr>
            <p:cNvSpPr/>
            <p:nvPr/>
          </p:nvSpPr>
          <p:spPr>
            <a:xfrm>
              <a:off x="84841" y="1998483"/>
              <a:ext cx="1668544" cy="457200"/>
            </a:xfrm>
            <a:prstGeom prst="round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CF4523F2-2696-7D7F-195D-F14465A26E03}"/>
                </a:ext>
              </a:extLst>
            </p:cNvPr>
            <p:cNvSpPr/>
            <p:nvPr/>
          </p:nvSpPr>
          <p:spPr>
            <a:xfrm>
              <a:off x="1291473" y="2007909"/>
              <a:ext cx="457200" cy="45720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Roboto Mono" panose="00000009000000000000" pitchFamily="49" charset="0"/>
                  <a:ea typeface="Roboto Mono" panose="00000009000000000000" pitchFamily="49" charset="0"/>
                </a:rPr>
                <a:t>4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0E61737-7EFB-E91B-45FA-CF5A468E9A8A}"/>
              </a:ext>
            </a:extLst>
          </p:cNvPr>
          <p:cNvSpPr txBox="1"/>
          <p:nvPr/>
        </p:nvSpPr>
        <p:spPr>
          <a:xfrm>
            <a:off x="4823097" y="2372609"/>
            <a:ext cx="4369394" cy="10215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dirty="0"/>
              <a:t>Select your voice here. You can do it later, but to avoid confusion, it’s best to do it at the beginn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3603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963"/>
    </mc:Choice>
    <mc:Fallback xmlns="">
      <p:transition spd="slow" advTm="102963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BDA180-7318-8B07-6451-9FB3A1857F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18CCE-CDD8-B08D-B60B-5EA2C15F8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new projec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3C8B9D-547A-29AA-E5A1-C05B0A98792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" y="0"/>
            <a:ext cx="12191998" cy="60832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8A1C3E-D990-F347-37B2-127AE08F15A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938382" y="227393"/>
            <a:ext cx="6537660" cy="5712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155BBA-1FF6-BCDA-6D17-85C5C14DD144}"/>
              </a:ext>
            </a:extLst>
          </p:cNvPr>
          <p:cNvSpPr txBox="1"/>
          <p:nvPr/>
        </p:nvSpPr>
        <p:spPr>
          <a:xfrm>
            <a:off x="3947157" y="3148117"/>
            <a:ext cx="5039894" cy="119181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sz="1600" dirty="0"/>
              <a:t>Do not select normalize volume here. This will degrade audio quality in the completed video. There are no other settings on this panel that we are using as of 03/07/25.</a:t>
            </a:r>
          </a:p>
        </p:txBody>
      </p:sp>
      <p:sp>
        <p:nvSpPr>
          <p:cNvPr id="3" name="&quot;Not Allowed&quot; Symbol 2">
            <a:extLst>
              <a:ext uri="{FF2B5EF4-FFF2-40B4-BE49-F238E27FC236}">
                <a16:creationId xmlns:a16="http://schemas.microsoft.com/office/drawing/2014/main" id="{D448400F-875B-C49D-B8BF-1F2023BBF5A4}"/>
              </a:ext>
            </a:extLst>
          </p:cNvPr>
          <p:cNvSpPr/>
          <p:nvPr/>
        </p:nvSpPr>
        <p:spPr>
          <a:xfrm>
            <a:off x="4797188" y="1576315"/>
            <a:ext cx="1097280" cy="1097280"/>
          </a:xfrm>
          <a:prstGeom prst="noSmoking">
            <a:avLst/>
          </a:prstGeom>
          <a:solidFill>
            <a:schemeClr val="accent6">
              <a:alpha val="62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586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963"/>
    </mc:Choice>
    <mc:Fallback xmlns="">
      <p:transition spd="slow" advTm="102963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B10FDE-6B7A-E0A2-00D1-71750EBAB9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A295A-7783-6B05-8333-38BAEC30B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new projec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58E6C6-0679-2A1B-191B-E6F001D3B5D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" y="0"/>
            <a:ext cx="12191998" cy="60832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977A92B-1B46-82CB-E79E-8E777637D31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939336" y="227393"/>
            <a:ext cx="6535752" cy="57127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E7F9AAC-C375-E655-A4F7-51123EBA65A6}"/>
              </a:ext>
            </a:extLst>
          </p:cNvPr>
          <p:cNvSpPr txBox="1"/>
          <p:nvPr/>
        </p:nvSpPr>
        <p:spPr>
          <a:xfrm>
            <a:off x="3776561" y="2390667"/>
            <a:ext cx="5039894" cy="119181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sz="1600" dirty="0"/>
              <a:t>No changes necessary here. Leave this for best results. </a:t>
            </a:r>
          </a:p>
          <a:p>
            <a:endParaRPr lang="en-US" sz="1600" dirty="0"/>
          </a:p>
          <a:p>
            <a:r>
              <a:rPr lang="en-US" sz="1600" dirty="0"/>
              <a:t>Click the X when done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683E02D4-CEDC-728D-3CD4-82212170673A}"/>
              </a:ext>
            </a:extLst>
          </p:cNvPr>
          <p:cNvCxnSpPr/>
          <p:nvPr/>
        </p:nvCxnSpPr>
        <p:spPr>
          <a:xfrm flipV="1">
            <a:off x="7499445" y="702860"/>
            <a:ext cx="1480782" cy="168549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748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963"/>
    </mc:Choice>
    <mc:Fallback xmlns="">
      <p:transition spd="slow" advTm="102963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1146466-40ED-BD0A-57A0-B2E1EBCD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udio Files in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201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4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|10.7|24.7|15.1|16.4"/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1|11.2|4.3|3.1|3.4|23.4|10.6|19.9"/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1|11.2|4.3|3.1|3.4|23.4|10.6|19.9"/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1|11.2|4.3|3.1|3.4|23.4|10.6|19.9"/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1|11.2|4.3|3.1|3.4|23.4|10.6|19.9"/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1|11.2|4.3|3.1|3.4|23.4|10.6|19.9"/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1|11.2|4.3|3.1|3.4|23.4|10.6|19.9"/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1|11.2|4.3|3.1|3.4|23.4|10.6|19.9"/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s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Custom 17">
      <a:majorFont>
        <a:latin typeface="Roboto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6593D299-7E14-454C-97CC-8628978E300E}"/>
    </a:ext>
  </a:extLst>
</a:theme>
</file>

<file path=ppt/theme/theme2.xml><?xml version="1.0" encoding="utf-8"?>
<a:theme xmlns:a="http://schemas.openxmlformats.org/drawingml/2006/main" name="Dividers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Custom 17">
      <a:majorFont>
        <a:latin typeface="Roboto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6593D299-7E14-454C-97CC-8628978E300E}"/>
    </a:ext>
  </a:extLst>
</a:theme>
</file>

<file path=ppt/theme/theme3.xml><?xml version="1.0" encoding="utf-8"?>
<a:theme xmlns:a="http://schemas.openxmlformats.org/drawingml/2006/main" name="Agendas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Custom 18">
      <a:majorFont>
        <a:latin typeface="Roboto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/>
      <a:lstStyle>
        <a:defPPr algn="l">
          <a:defRPr sz="2000" dirty="0">
            <a:solidFill>
              <a:srgbClr val="22272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5671D992-1EB4-46B0-BA49-DE31A77C11A7}"/>
    </a:ext>
  </a:extLst>
</a:theme>
</file>

<file path=ppt/theme/theme4.xml><?xml version="1.0" encoding="utf-8"?>
<a:theme xmlns:a="http://schemas.openxmlformats.org/drawingml/2006/main" name="General Layouts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Custom 18">
      <a:majorFont>
        <a:latin typeface="Roboto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/>
      <a:lstStyle>
        <a:defPPr algn="l">
          <a:defRPr sz="2000" dirty="0">
            <a:solidFill>
              <a:srgbClr val="22272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5671D992-1EB4-46B0-BA49-DE31A77C11A7}"/>
    </a:ext>
  </a:extLst>
</a:theme>
</file>

<file path=ppt/theme/theme5.xml><?xml version="1.0" encoding="utf-8"?>
<a:theme xmlns:a="http://schemas.openxmlformats.org/drawingml/2006/main" name="About Axway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Axway">
      <a:majorFont>
        <a:latin typeface="Roboto Slab Medium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E99A6433-150E-43A8-80B7-E673BBFA2ACC}"/>
    </a:ext>
  </a:extLst>
</a:theme>
</file>

<file path=ppt/theme/theme6.xml><?xml version="1.0" encoding="utf-8"?>
<a:theme xmlns:a="http://schemas.openxmlformats.org/drawingml/2006/main" name="Thank You">
  <a:themeElements>
    <a:clrScheme name="Custom 5">
      <a:dk1>
        <a:srgbClr val="000000"/>
      </a:dk1>
      <a:lt1>
        <a:srgbClr val="FFFFFF"/>
      </a:lt1>
      <a:dk2>
        <a:srgbClr val="001E26"/>
      </a:dk2>
      <a:lt2>
        <a:srgbClr val="4A4F54"/>
      </a:lt2>
      <a:accent1>
        <a:srgbClr val="006580"/>
      </a:accent1>
      <a:accent2>
        <a:srgbClr val="7F8184"/>
      </a:accent2>
      <a:accent3>
        <a:srgbClr val="0097CE"/>
      </a:accent3>
      <a:accent4>
        <a:srgbClr val="B9EDEB"/>
      </a:accent4>
      <a:accent5>
        <a:srgbClr val="E7D2CC"/>
      </a:accent5>
      <a:accent6>
        <a:srgbClr val="D22630"/>
      </a:accent6>
      <a:hlink>
        <a:srgbClr val="7E71FF"/>
      </a:hlink>
      <a:folHlink>
        <a:srgbClr val="7E71FF"/>
      </a:folHlink>
    </a:clrScheme>
    <a:fontScheme name="Axway">
      <a:majorFont>
        <a:latin typeface="Roboto Slab Medium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C06B05EE-C10F-428F-80E6-10852CFC7069}" vid="{E99A6433-150E-43A8-80B7-E673BBFA2ACC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118952-da23-46fc-a354-c6ad1374654c" xsi:nil="true"/>
    <lcf76f155ced4ddcb4097134ff3c332f xmlns="36e2c0aa-e511-445f-8039-2569a9f10996">
      <Terms xmlns="http://schemas.microsoft.com/office/infopath/2007/PartnerControls"/>
    </lcf76f155ced4ddcb4097134ff3c332f>
    <SharedWithUsers xmlns="fa118952-da23-46fc-a354-c6ad1374654c">
      <UserInfo>
        <DisplayName>Noel May</DisplayName>
        <AccountId>127</AccountId>
        <AccountType/>
      </UserInfo>
    </SharedWithUsers>
    <SenttoAP xmlns="36e2c0aa-e511-445f-8039-2569a9f10996" xsi:nil="true"/>
    <_ApprovalAssignedTo xmlns="36e2c0aa-e511-445f-8039-2569a9f10996">
      <UserInfo>
        <DisplayName/>
        <AccountId xsi:nil="true"/>
        <AccountType/>
      </UserInfo>
    </_ApprovalAssignedTo>
    <_ApprovalSentBy xmlns="36e2c0aa-e511-445f-8039-2569a9f10996">
      <UserInfo>
        <DisplayName/>
        <AccountId xsi:nil="true"/>
        <AccountType/>
      </UserInfo>
    </_ApprovalSentBy>
    <_ApprovalStatus xmlns="36e2c0aa-e511-445f-8039-2569a9f10996">0</_ApprovalStatus>
    <_ApprovalRespondedBy xmlns="36e2c0aa-e511-445f-8039-2569a9f10996">
      <UserInfo>
        <DisplayName/>
        <AccountId xsi:nil="true"/>
        <AccountType/>
      </UserInfo>
    </_ApprovalRespondedB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31E95EA1F586458AF07F3DE8617C42" ma:contentTypeVersion="28" ma:contentTypeDescription="Create a new document." ma:contentTypeScope="" ma:versionID="f2c10ccd21469bed2c04839668855590">
  <xsd:schema xmlns:xsd="http://www.w3.org/2001/XMLSchema" xmlns:xs="http://www.w3.org/2001/XMLSchema" xmlns:p="http://schemas.microsoft.com/office/2006/metadata/properties" xmlns:ns2="36e2c0aa-e511-445f-8039-2569a9f10996" xmlns:ns3="fa118952-da23-46fc-a354-c6ad1374654c" targetNamespace="http://schemas.microsoft.com/office/2006/metadata/properties" ma:root="true" ma:fieldsID="017c8616f8d1d62aacfe63684c7f422d" ns2:_="" ns3:_="">
    <xsd:import namespace="36e2c0aa-e511-445f-8039-2569a9f10996"/>
    <xsd:import namespace="fa118952-da23-46fc-a354-c6ad1374654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  <xsd:element ref="ns2:_ApprovalAssignedTo" minOccurs="0"/>
                <xsd:element ref="ns2:_ApprovalRespondedBy" minOccurs="0"/>
                <xsd:element ref="ns2:_ApprovalSentBy" minOccurs="0"/>
                <xsd:element ref="ns2:_ApprovalStatus" minOccurs="0"/>
                <xsd:element ref="ns2:SenttoAP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e2c0aa-e511-445f-8039-2569a9f109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446fa58-7adc-4f96-943c-3685cd4d85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  <xsd:element name="_ApprovalAssignedTo" ma:index="27" nillable="true" ma:displayName="Approvers" ma:list="UserInfo" ma:internalName="_ApprovalAssignedTo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ApprovalRespondedBy" ma:index="28" nillable="true" ma:displayName="Responses" ma:list="UserInfo" ma:internalName="_ApprovalRespondedBy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ApprovalSentBy" ma:index="29" nillable="true" ma:displayName="Approval Creator" ma:list="UserInfo" ma:internalName="_ApprovalSentBy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ApprovalStatus" ma:index="30" nillable="true" ma:displayName="Approval status" ma:internalName="_ApprovalStatus" ma:readOnly="true">
      <xsd:simpleType>
        <xsd:restriction base="dms:Unknown"/>
      </xsd:simpleType>
    </xsd:element>
    <xsd:element name="SenttoAP" ma:index="31" nillable="true" ma:displayName="Sent to AP" ma:description="Check this box if the invoice was emailed to the appropriate AP contact." ma:format="Dropdown" ma:internalName="SenttoAP">
      <xsd:simpleType>
        <xsd:restriction base="dms:Choice">
          <xsd:enumeration value="Sent"/>
          <xsd:enumeration value="Not Sent"/>
          <xsd:enumeration value="Choice 3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118952-da23-46fc-a354-c6ad1374654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e57cc56-6c9f-4f5f-88a5-42ee222f1f4c}" ma:internalName="TaxCatchAll" ma:showField="CatchAllData" ma:web="fa118952-da23-46fc-a354-c6ad137465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B9F11D5-A2A4-41BB-8F13-69484E26E72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5B2848-0419-4758-8A50-4F6195AD6029}">
  <ds:schemaRefs>
    <ds:schemaRef ds:uri="http://www.w3.org/XML/1998/namespace"/>
    <ds:schemaRef ds:uri="http://purl.org/dc/dcmitype/"/>
    <ds:schemaRef ds:uri="e806c388-417e-403a-8f50-fdca3409c24f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cc64546c-1161-4ffe-835a-77a9b17a4ab4"/>
    <ds:schemaRef ds:uri="http://purl.org/dc/terms/"/>
    <ds:schemaRef ds:uri="fa118952-da23-46fc-a354-c6ad1374654c"/>
    <ds:schemaRef ds:uri="36e2c0aa-e511-445f-8039-2569a9f10996"/>
  </ds:schemaRefs>
</ds:datastoreItem>
</file>

<file path=customXml/itemProps3.xml><?xml version="1.0" encoding="utf-8"?>
<ds:datastoreItem xmlns:ds="http://schemas.openxmlformats.org/officeDocument/2006/customXml" ds:itemID="{BA3F56C8-233A-42D8-B641-4024065D35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e2c0aa-e511-445f-8039-2569a9f10996"/>
    <ds:schemaRef ds:uri="fa118952-da23-46fc-a354-c6ad137465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xway_PPT_template_073021</Template>
  <TotalTime>0</TotalTime>
  <Words>501</Words>
  <Application>Microsoft Office PowerPoint</Application>
  <PresentationFormat>Grand écran</PresentationFormat>
  <Paragraphs>65</Paragraphs>
  <Slides>14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6</vt:i4>
      </vt:variant>
      <vt:variant>
        <vt:lpstr>Titres des diapositives</vt:lpstr>
      </vt:variant>
      <vt:variant>
        <vt:i4>14</vt:i4>
      </vt:variant>
    </vt:vector>
  </HeadingPairs>
  <TitlesOfParts>
    <vt:vector size="20" baseType="lpstr">
      <vt:lpstr>Covers</vt:lpstr>
      <vt:lpstr>Dividers</vt:lpstr>
      <vt:lpstr>Agendas</vt:lpstr>
      <vt:lpstr>General Layouts</vt:lpstr>
      <vt:lpstr>About Axway</vt:lpstr>
      <vt:lpstr>Thank You</vt:lpstr>
      <vt:lpstr>Create Voice Project </vt:lpstr>
      <vt:lpstr>Process Info</vt:lpstr>
      <vt:lpstr>Create a new Elevenlabs Studio Project</vt:lpstr>
      <vt:lpstr>Create a new project</vt:lpstr>
      <vt:lpstr>Create a new project</vt:lpstr>
      <vt:lpstr>Create a new project</vt:lpstr>
      <vt:lpstr>Create a new project</vt:lpstr>
      <vt:lpstr>Create a new project</vt:lpstr>
      <vt:lpstr>Create Audio Files in Studio</vt:lpstr>
      <vt:lpstr>Create Voice Over Tracks</vt:lpstr>
      <vt:lpstr>Export Audio Files from Studio</vt:lpstr>
      <vt:lpstr>Présentation PowerPoint</vt:lpstr>
      <vt:lpstr>Troubleshooting</vt:lpstr>
      <vt:lpstr>Troubleshoot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xway PPT Template_Pattern B</dc:title>
  <dc:subject/>
  <dc:creator>Nicky Davis</dc:creator>
  <cp:keywords>PPT, Template; Pattern B; 2024</cp:keywords>
  <dc:description/>
  <cp:lastModifiedBy>Damien Lerminiaux</cp:lastModifiedBy>
  <cp:revision>26</cp:revision>
  <dcterms:created xsi:type="dcterms:W3CDTF">2021-07-30T15:55:03Z</dcterms:created>
  <dcterms:modified xsi:type="dcterms:W3CDTF">2025-10-15T13:04:44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_dlc_policyId">
    <vt:lpwstr>0x010100841206C78DAA2E49860FF2B23EE33953|449365324</vt:lpwstr>
  </property>
  <property fmtid="{D5CDD505-2E9C-101B-9397-08002B2CF9AE}" pid="4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  <property fmtid="{D5CDD505-2E9C-101B-9397-08002B2CF9AE}" pid="5" name="ContentTypeId">
    <vt:lpwstr>0x0101004A31E95EA1F586458AF07F3DE8617C42</vt:lpwstr>
  </property>
  <property fmtid="{D5CDD505-2E9C-101B-9397-08002B2CF9AE}" pid="6" name="ArticulateGUID">
    <vt:lpwstr>62B921E6-D272-467C-A271-47918715075D</vt:lpwstr>
  </property>
  <property fmtid="{D5CDD505-2E9C-101B-9397-08002B2CF9AE}" pid="7" name="ArticulatePath">
    <vt:lpwstr>Elevenlabs How to</vt:lpwstr>
  </property>
  <property fmtid="{D5CDD505-2E9C-101B-9397-08002B2CF9AE}" pid="8" name="MSIP_Label_d68af6de-cd8b-46d2-a1d5-482b920c67c1_Enabled">
    <vt:lpwstr>true</vt:lpwstr>
  </property>
  <property fmtid="{D5CDD505-2E9C-101B-9397-08002B2CF9AE}" pid="9" name="MSIP_Label_d68af6de-cd8b-46d2-a1d5-482b920c67c1_SetDate">
    <vt:lpwstr>2025-10-15T13:04:40Z</vt:lpwstr>
  </property>
  <property fmtid="{D5CDD505-2E9C-101B-9397-08002B2CF9AE}" pid="10" name="MSIP_Label_d68af6de-cd8b-46d2-a1d5-482b920c67c1_Method">
    <vt:lpwstr>Standard</vt:lpwstr>
  </property>
  <property fmtid="{D5CDD505-2E9C-101B-9397-08002B2CF9AE}" pid="11" name="MSIP_Label_d68af6de-cd8b-46d2-a1d5-482b920c67c1_Name">
    <vt:lpwstr>d68af6de-cd8b-46d2-a1d5-482b920c67c1</vt:lpwstr>
  </property>
  <property fmtid="{D5CDD505-2E9C-101B-9397-08002B2CF9AE}" pid="12" name="MSIP_Label_d68af6de-cd8b-46d2-a1d5-482b920c67c1_SiteId">
    <vt:lpwstr>300f59df-78e6-436f-9b27-b64973e34f7d</vt:lpwstr>
  </property>
  <property fmtid="{D5CDD505-2E9C-101B-9397-08002B2CF9AE}" pid="13" name="MSIP_Label_d68af6de-cd8b-46d2-a1d5-482b920c67c1_ActionId">
    <vt:lpwstr>77b6f2d5-2cf2-4bb9-b5c8-9484807f5769</vt:lpwstr>
  </property>
  <property fmtid="{D5CDD505-2E9C-101B-9397-08002B2CF9AE}" pid="14" name="MSIP_Label_d68af6de-cd8b-46d2-a1d5-482b920c67c1_ContentBits">
    <vt:lpwstr>0</vt:lpwstr>
  </property>
  <property fmtid="{D5CDD505-2E9C-101B-9397-08002B2CF9AE}" pid="15" name="MSIP_Label_d68af6de-cd8b-46d2-a1d5-482b920c67c1_Tag">
    <vt:lpwstr>10, 3, 0, 2</vt:lpwstr>
  </property>
</Properties>
</file>